
<file path=[Content_Types].xml><?xml version="1.0" encoding="utf-8"?>
<Types xmlns="http://schemas.openxmlformats.org/package/2006/content-types"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71" r:id="rId2"/>
    <p:sldId id="446" r:id="rId3"/>
    <p:sldId id="451" r:id="rId4"/>
    <p:sldId id="476" r:id="rId5"/>
    <p:sldId id="477" r:id="rId6"/>
    <p:sldId id="478" r:id="rId7"/>
    <p:sldId id="479" r:id="rId8"/>
    <p:sldId id="457" r:id="rId9"/>
    <p:sldId id="481" r:id="rId10"/>
    <p:sldId id="500" r:id="rId11"/>
    <p:sldId id="483" r:id="rId12"/>
    <p:sldId id="484" r:id="rId13"/>
    <p:sldId id="485" r:id="rId14"/>
    <p:sldId id="460" r:id="rId15"/>
    <p:sldId id="493" r:id="rId16"/>
    <p:sldId id="495" r:id="rId17"/>
    <p:sldId id="496" r:id="rId18"/>
    <p:sldId id="497" r:id="rId19"/>
    <p:sldId id="498" r:id="rId20"/>
    <p:sldId id="466" r:id="rId21"/>
    <p:sldId id="470" r:id="rId22"/>
    <p:sldId id="471" r:id="rId23"/>
    <p:sldId id="472" r:id="rId24"/>
    <p:sldId id="473" r:id="rId25"/>
    <p:sldId id="465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310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ian Kurniawan" initials="AK" lastIdx="1" clrIdx="0">
    <p:extLst>
      <p:ext uri="{19B8F6BF-5375-455C-9EA6-DF929625EA0E}">
        <p15:presenceInfo xmlns:p15="http://schemas.microsoft.com/office/powerpoint/2012/main" userId="Andrian Kurniaw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A0A"/>
    <a:srgbClr val="AD833B"/>
    <a:srgbClr val="ECDEC6"/>
    <a:srgbClr val="86672E"/>
    <a:srgbClr val="FF9966"/>
    <a:srgbClr val="333333"/>
    <a:srgbClr val="2D2728"/>
    <a:srgbClr val="008243"/>
    <a:srgbClr val="D21E2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42" autoAdjust="0"/>
    <p:restoredTop sz="96412" autoAdjust="0"/>
  </p:normalViewPr>
  <p:slideViewPr>
    <p:cSldViewPr snapToGrid="0">
      <p:cViewPr varScale="1">
        <p:scale>
          <a:sx n="72" d="100"/>
          <a:sy n="72" d="100"/>
        </p:scale>
        <p:origin x="584" y="32"/>
      </p:cViewPr>
      <p:guideLst>
        <p:guide orient="horz" pos="2160"/>
        <p:guide pos="7310"/>
        <p:guide orient="horz" pos="346"/>
        <p:guide orient="horz" pos="3974"/>
        <p:guide pos="37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-1992"/>
    </p:cViewPr>
  </p:sorterViewPr>
  <p:notesViewPr>
    <p:cSldViewPr snapToGrid="0">
      <p:cViewPr varScale="1">
        <p:scale>
          <a:sx n="52" d="100"/>
          <a:sy n="52" d="100"/>
        </p:scale>
        <p:origin x="2680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slide" Target="slides/slide12.xml" /><Relationship Id="rId18" Type="http://schemas.openxmlformats.org/officeDocument/2006/relationships/slide" Target="slides/slide17.xml" /><Relationship Id="rId26" Type="http://schemas.openxmlformats.org/officeDocument/2006/relationships/slide" Target="slides/slide25.xml" /><Relationship Id="rId3" Type="http://schemas.openxmlformats.org/officeDocument/2006/relationships/slide" Target="slides/slide2.xml" /><Relationship Id="rId21" Type="http://schemas.openxmlformats.org/officeDocument/2006/relationships/slide" Target="slides/slide20.xml" /><Relationship Id="rId7" Type="http://schemas.openxmlformats.org/officeDocument/2006/relationships/slide" Target="slides/slide6.xml" /><Relationship Id="rId12" Type="http://schemas.openxmlformats.org/officeDocument/2006/relationships/slide" Target="slides/slide11.xml" /><Relationship Id="rId17" Type="http://schemas.openxmlformats.org/officeDocument/2006/relationships/slide" Target="slides/slide16.xml" /><Relationship Id="rId25" Type="http://schemas.openxmlformats.org/officeDocument/2006/relationships/slide" Target="slides/slide24.xml" /><Relationship Id="rId33" Type="http://schemas.openxmlformats.org/officeDocument/2006/relationships/tableStyles" Target="tableStyles.xml" /><Relationship Id="rId2" Type="http://schemas.openxmlformats.org/officeDocument/2006/relationships/slide" Target="slides/slide1.xml" /><Relationship Id="rId16" Type="http://schemas.openxmlformats.org/officeDocument/2006/relationships/slide" Target="slides/slide15.xml" /><Relationship Id="rId20" Type="http://schemas.openxmlformats.org/officeDocument/2006/relationships/slide" Target="slides/slide19.xml" /><Relationship Id="rId29" Type="http://schemas.openxmlformats.org/officeDocument/2006/relationships/commentAuthors" Target="commentAuthors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24" Type="http://schemas.openxmlformats.org/officeDocument/2006/relationships/slide" Target="slides/slide23.xml" /><Relationship Id="rId32" Type="http://schemas.openxmlformats.org/officeDocument/2006/relationships/theme" Target="theme/theme1.xml" /><Relationship Id="rId5" Type="http://schemas.openxmlformats.org/officeDocument/2006/relationships/slide" Target="slides/slide4.xml" /><Relationship Id="rId15" Type="http://schemas.openxmlformats.org/officeDocument/2006/relationships/slide" Target="slides/slide14.xml" /><Relationship Id="rId23" Type="http://schemas.openxmlformats.org/officeDocument/2006/relationships/slide" Target="slides/slide22.xml" /><Relationship Id="rId28" Type="http://schemas.openxmlformats.org/officeDocument/2006/relationships/handoutMaster" Target="handoutMasters/handoutMaster1.xml" /><Relationship Id="rId10" Type="http://schemas.openxmlformats.org/officeDocument/2006/relationships/slide" Target="slides/slide9.xml" /><Relationship Id="rId19" Type="http://schemas.openxmlformats.org/officeDocument/2006/relationships/slide" Target="slides/slide18.xml" /><Relationship Id="rId31" Type="http://schemas.openxmlformats.org/officeDocument/2006/relationships/viewProps" Target="viewProps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slide" Target="slides/slide13.xml" /><Relationship Id="rId22" Type="http://schemas.openxmlformats.org/officeDocument/2006/relationships/slide" Target="slides/slide21.xml" /><Relationship Id="rId27" Type="http://schemas.openxmlformats.org/officeDocument/2006/relationships/notesMaster" Target="notesMasters/notesMaster1.xml" /><Relationship Id="rId30" Type="http://schemas.openxmlformats.org/officeDocument/2006/relationships/presProps" Target="presProps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 /><Relationship Id="rId2" Type="http://schemas.microsoft.com/office/2011/relationships/chartColorStyle" Target="colors1.xml" /><Relationship Id="rId1" Type="http://schemas.microsoft.com/office/2011/relationships/chartStyle" Target="style1.xml" /><Relationship Id="rId4" Type="http://schemas.openxmlformats.org/officeDocument/2006/relationships/package" Target="../embeddings/Microsoft_Excel_Worksheet1.xlsx" 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 /><Relationship Id="rId2" Type="http://schemas.microsoft.com/office/2011/relationships/chartColorStyle" Target="colors9.xml" /><Relationship Id="rId1" Type="http://schemas.microsoft.com/office/2011/relationships/chartStyle" Target="style9.xml" /><Relationship Id="rId4" Type="http://schemas.openxmlformats.org/officeDocument/2006/relationships/package" Target="../embeddings/Microsoft_Excel_Worksheet10.xlsx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 /><Relationship Id="rId2" Type="http://schemas.microsoft.com/office/2011/relationships/chartColorStyle" Target="colors2.xml" /><Relationship Id="rId1" Type="http://schemas.microsoft.com/office/2011/relationships/chartStyle" Target="style2.xml" /><Relationship Id="rId4" Type="http://schemas.openxmlformats.org/officeDocument/2006/relationships/package" Target="../embeddings/Microsoft_Excel_Worksheet2.xlsx" 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 /><Relationship Id="rId2" Type="http://schemas.microsoft.com/office/2011/relationships/chartColorStyle" Target="colors3.xml" /><Relationship Id="rId1" Type="http://schemas.microsoft.com/office/2011/relationships/chartStyle" Target="style3.xml" /><Relationship Id="rId4" Type="http://schemas.openxmlformats.org/officeDocument/2006/relationships/package" Target="../embeddings/Microsoft_Excel_Worksheet3.xlsx" 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 /><Relationship Id="rId2" Type="http://schemas.microsoft.com/office/2011/relationships/chartColorStyle" Target="colors4.xml" /><Relationship Id="rId1" Type="http://schemas.microsoft.com/office/2011/relationships/chartStyle" Target="style4.xml" /><Relationship Id="rId4" Type="http://schemas.openxmlformats.org/officeDocument/2006/relationships/package" Target="../embeddings/Microsoft_Excel_Worksheet4.xlsx" 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 /><Relationship Id="rId2" Type="http://schemas.microsoft.com/office/2011/relationships/chartColorStyle" Target="colors5.xml" /><Relationship Id="rId1" Type="http://schemas.microsoft.com/office/2011/relationships/chartStyle" Target="style5.xml" /><Relationship Id="rId4" Type="http://schemas.openxmlformats.org/officeDocument/2006/relationships/package" Target="../embeddings/Microsoft_Excel_Worksheet5.xlsx" 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 /><Relationship Id="rId2" Type="http://schemas.microsoft.com/office/2011/relationships/chartColorStyle" Target="colors6.xml" /><Relationship Id="rId1" Type="http://schemas.microsoft.com/office/2011/relationships/chartStyle" Target="style6.xml" /><Relationship Id="rId4" Type="http://schemas.openxmlformats.org/officeDocument/2006/relationships/package" Target="../embeddings/Microsoft_Excel_Worksheet6.xlsx" 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 /><Relationship Id="rId1" Type="http://schemas.openxmlformats.org/officeDocument/2006/relationships/themeOverride" Target="../theme/themeOverride7.xml" 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 /><Relationship Id="rId2" Type="http://schemas.microsoft.com/office/2011/relationships/chartColorStyle" Target="colors7.xml" /><Relationship Id="rId1" Type="http://schemas.microsoft.com/office/2011/relationships/chartStyle" Target="style7.xml" /><Relationship Id="rId4" Type="http://schemas.openxmlformats.org/officeDocument/2006/relationships/package" Target="../embeddings/Microsoft_Excel_Worksheet8.xlsx" 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 /><Relationship Id="rId2" Type="http://schemas.microsoft.com/office/2011/relationships/chartColorStyle" Target="colors8.xml" /><Relationship Id="rId1" Type="http://schemas.microsoft.com/office/2011/relationships/chartStyle" Target="style8.xml" /><Relationship Id="rId4" Type="http://schemas.openxmlformats.org/officeDocument/2006/relationships/package" Target="../embeddings/Microsoft_Excel_Worksheet9.xlsx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7391606613912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08-4C6F-A8FB-DF8C063C92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59104928"/>
        <c:axId val="-2059114176"/>
      </c:barChart>
      <c:catAx>
        <c:axId val="-20591049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59114176"/>
        <c:crosses val="autoZero"/>
        <c:auto val="1"/>
        <c:lblAlgn val="ctr"/>
        <c:lblOffset val="100"/>
        <c:noMultiLvlLbl val="0"/>
      </c:catAx>
      <c:valAx>
        <c:axId val="-2059114176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-2059104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sz="1200" dirty="0"/>
              <a:t>FDI Inflows, By Top 10 MENA</a:t>
            </a:r>
            <a:r>
              <a:rPr lang="en-US" sz="1200" baseline="0" dirty="0"/>
              <a:t> Region 2019</a:t>
            </a:r>
            <a:endParaRPr lang="en-US" sz="1200" b="1" i="0" u="none" strike="noStrike" baseline="0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endParaRPr>
          </a:p>
          <a:p>
            <a:pPr>
              <a:defRPr/>
            </a:pPr>
            <a:r>
              <a:rPr lang="en-US" sz="1200" b="1" i="0" u="none" strike="noStrike" baseline="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Millions USD $</a:t>
            </a:r>
            <a:endParaRPr lang="en-US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9917236118520225E-2"/>
          <c:y val="0.2189106666152322"/>
          <c:w val="0.94016552776295959"/>
          <c:h val="0.50098075455353819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526E-46B3-BA32-D3337035905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MENA 2020'!$AH$3:$AQ$3</c:f>
              <c:strCache>
                <c:ptCount val="10"/>
                <c:pt idx="0">
                  <c:v>United Arab Emirates</c:v>
                </c:pt>
                <c:pt idx="1">
                  <c:v>Egypt</c:v>
                </c:pt>
                <c:pt idx="2">
                  <c:v>Turkey</c:v>
                </c:pt>
                <c:pt idx="3">
                  <c:v>Saudi Arabia</c:v>
                </c:pt>
                <c:pt idx="4">
                  <c:v>Oman</c:v>
                </c:pt>
                <c:pt idx="5">
                  <c:v>Lebanon</c:v>
                </c:pt>
                <c:pt idx="6">
                  <c:v>Morocco</c:v>
                </c:pt>
                <c:pt idx="7">
                  <c:v>Iran</c:v>
                </c:pt>
                <c:pt idx="8">
                  <c:v>Algeria</c:v>
                </c:pt>
                <c:pt idx="9">
                  <c:v>Bahrain</c:v>
                </c:pt>
              </c:strCache>
            </c:strRef>
          </c:cat>
          <c:val>
            <c:numRef>
              <c:f>'MENA 2020'!$AH$4:$AQ$4</c:f>
              <c:numCache>
                <c:formatCode>#\ ###\ ##0.0;\-#\ ###\ ##0.0;"-"</c:formatCode>
                <c:ptCount val="10"/>
                <c:pt idx="0" formatCode="0.0">
                  <c:v>13787</c:v>
                </c:pt>
                <c:pt idx="1">
                  <c:v>9010</c:v>
                </c:pt>
                <c:pt idx="2" formatCode="0.0">
                  <c:v>8434</c:v>
                </c:pt>
                <c:pt idx="3" formatCode="0.0">
                  <c:v>4562</c:v>
                </c:pt>
                <c:pt idx="4" formatCode="0.0">
                  <c:v>3125</c:v>
                </c:pt>
                <c:pt idx="5" formatCode="0.0">
                  <c:v>2128</c:v>
                </c:pt>
                <c:pt idx="6">
                  <c:v>1599</c:v>
                </c:pt>
                <c:pt idx="7">
                  <c:v>1508</c:v>
                </c:pt>
                <c:pt idx="8">
                  <c:v>1382</c:v>
                </c:pt>
                <c:pt idx="9" formatCode="0.0">
                  <c:v>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6E-46B3-BA32-D3337035905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-2059106560"/>
        <c:axId val="-2059106016"/>
      </c:barChart>
      <c:catAx>
        <c:axId val="-2059106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59106016"/>
        <c:crosses val="autoZero"/>
        <c:auto val="1"/>
        <c:lblAlgn val="ctr"/>
        <c:lblOffset val="100"/>
        <c:noMultiLvlLbl val="0"/>
      </c:catAx>
      <c:valAx>
        <c:axId val="-20591060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crossAx val="-2059106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_-* #,##0.0_-;_-* #,##0.0\-;_-* "-"??_-;_-@_-</c:formatCode>
                <c:ptCount val="1"/>
                <c:pt idx="0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C-418C-806A-DBFEAC5D4E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59101120"/>
        <c:axId val="-2059111456"/>
      </c:barChart>
      <c:catAx>
        <c:axId val="-20591011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59111456"/>
        <c:crosses val="autoZero"/>
        <c:auto val="1"/>
        <c:lblAlgn val="ctr"/>
        <c:lblOffset val="100"/>
        <c:noMultiLvlLbl val="0"/>
      </c:catAx>
      <c:valAx>
        <c:axId val="-2059111456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-2059101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_-* #,##0.0_-;_-* #,##0.0\-;_-* "-"??_-;_-@_-</c:formatCode>
                <c:ptCount val="1"/>
                <c:pt idx="0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4C-4D76-B17B-C73ABAA6CF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59103296"/>
        <c:axId val="-2059113088"/>
      </c:barChart>
      <c:catAx>
        <c:axId val="-20591032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59113088"/>
        <c:crosses val="autoZero"/>
        <c:auto val="1"/>
        <c:lblAlgn val="ctr"/>
        <c:lblOffset val="100"/>
        <c:noMultiLvlLbl val="0"/>
      </c:catAx>
      <c:valAx>
        <c:axId val="-2059113088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-2059103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7391606613912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EA-4CCC-89DB-CDE55F9B21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59102208"/>
        <c:axId val="-2059108736"/>
      </c:barChart>
      <c:catAx>
        <c:axId val="-20591022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59108736"/>
        <c:crosses val="autoZero"/>
        <c:auto val="1"/>
        <c:lblAlgn val="ctr"/>
        <c:lblOffset val="100"/>
        <c:noMultiLvlLbl val="0"/>
      </c:catAx>
      <c:valAx>
        <c:axId val="-2059108736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-2059102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51-438A-BB07-6EC958D738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51-438A-BB07-6EC958D738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59104384"/>
        <c:axId val="-2059116352"/>
      </c:barChart>
      <c:catAx>
        <c:axId val="-20591043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59116352"/>
        <c:crosses val="autoZero"/>
        <c:auto val="1"/>
        <c:lblAlgn val="ctr"/>
        <c:lblOffset val="100"/>
        <c:noMultiLvlLbl val="0"/>
      </c:catAx>
      <c:valAx>
        <c:axId val="-2059116352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-2059104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0D-4F7C-8244-D9189525FDC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0D-4F7C-8244-D9189525FD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59114720"/>
        <c:axId val="-2059115264"/>
      </c:barChart>
      <c:catAx>
        <c:axId val="-20591147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59115264"/>
        <c:crosses val="autoZero"/>
        <c:auto val="1"/>
        <c:lblAlgn val="ctr"/>
        <c:lblOffset val="100"/>
        <c:noMultiLvlLbl val="0"/>
      </c:catAx>
      <c:valAx>
        <c:axId val="-2059115264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-2059114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481615525622858E-2"/>
          <c:y val="3.3092275334363451E-2"/>
          <c:w val="0.94411703820302473"/>
          <c:h val="0.933815449331273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4546A"/>
            </a:solidFill>
            <a:ln w="63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1"/>
            <c:invertIfNegative val="0"/>
            <c:bubble3D val="0"/>
            <c:spPr>
              <a:solidFill>
                <a:srgbClr val="E84C22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667-4A6E-8734-AEAE502D28BB}"/>
              </c:ext>
            </c:extLst>
          </c:dPt>
          <c:dPt>
            <c:idx val="2"/>
            <c:invertIfNegative val="0"/>
            <c:bubble3D val="0"/>
            <c:spPr>
              <a:solidFill>
                <a:srgbClr val="FFBD47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667-4A6E-8734-AEAE502D28BB}"/>
              </c:ext>
            </c:extLst>
          </c:dPt>
          <c:dPt>
            <c:idx val="3"/>
            <c:invertIfNegative val="0"/>
            <c:bubble3D val="0"/>
            <c:spPr>
              <a:solidFill>
                <a:srgbClr val="B64926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2667-4A6E-8734-AEAE502D28BB}"/>
              </c:ext>
            </c:extLst>
          </c:dPt>
          <c:dPt>
            <c:idx val="4"/>
            <c:invertIfNegative val="0"/>
            <c:bubble3D val="0"/>
            <c:spPr>
              <a:solidFill>
                <a:srgbClr val="656D78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2667-4A6E-8734-AEAE502D28BB}"/>
              </c:ext>
            </c:extLst>
          </c:dPt>
          <c:dPt>
            <c:idx val="6"/>
            <c:invertIfNegative val="0"/>
            <c:bubble3D val="0"/>
            <c:spPr>
              <a:solidFill>
                <a:srgbClr val="FF8427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2667-4A6E-8734-AEAE502D28BB}"/>
              </c:ext>
            </c:extLst>
          </c:dPt>
          <c:dPt>
            <c:idx val="7"/>
            <c:invertIfNegative val="0"/>
            <c:bubble3D val="0"/>
            <c:spPr>
              <a:solidFill>
                <a:srgbClr val="CC9900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2667-4A6E-8734-AEAE502D28BB}"/>
              </c:ext>
            </c:extLst>
          </c:dPt>
          <c:dPt>
            <c:idx val="8"/>
            <c:invertIfNegative val="0"/>
            <c:bubble3D val="0"/>
            <c:spPr>
              <a:solidFill>
                <a:srgbClr val="B22600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2667-4A6E-8734-AEAE502D28BB}"/>
              </c:ext>
            </c:extLst>
          </c:dPt>
          <c:dPt>
            <c:idx val="9"/>
            <c:invertIfNegative val="0"/>
            <c:bubble3D val="0"/>
            <c:spPr>
              <a:solidFill>
                <a:srgbClr val="656D78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F-2667-4A6E-8734-AEAE502D28BB}"/>
              </c:ext>
            </c:extLst>
          </c:dPt>
          <c:dPt>
            <c:idx val="10"/>
            <c:invertIfNegative val="0"/>
            <c:bubble3D val="0"/>
            <c:spPr>
              <a:solidFill>
                <a:srgbClr val="E84C22"/>
              </a:solidFill>
              <a:ln w="635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1-2667-4A6E-8734-AEAE502D28BB}"/>
              </c:ext>
            </c:extLst>
          </c:dPt>
          <c:cat>
            <c:strRef>
              <c:f>Sheet1!$A$2:$A$15</c:f>
              <c:strCache>
                <c:ptCount val="14"/>
                <c:pt idx="0">
                  <c:v>Mining and quarrying (includes crude oil and natural gas)</c:v>
                </c:pt>
                <c:pt idx="1">
                  <c:v>Wholesale and retail trade; repair of motor vehicles and motorcycles</c:v>
                </c:pt>
                <c:pt idx="2">
                  <c:v>Financial and insurance activities</c:v>
                </c:pt>
                <c:pt idx="3">
                  <c:v>Manufacturing</c:v>
                </c:pt>
                <c:pt idx="4">
                  <c:v>Construction</c:v>
                </c:pt>
                <c:pt idx="5">
                  <c:v>Real estate activities</c:v>
                </c:pt>
                <c:pt idx="6">
                  <c:v>Transportation and storage</c:v>
                </c:pt>
                <c:pt idx="7">
                  <c:v>Public administration and defence; compulsory social security</c:v>
                </c:pt>
                <c:pt idx="8">
                  <c:v>Information and communication</c:v>
                </c:pt>
                <c:pt idx="9">
                  <c:v>Electricity, gas, and water supply; waste management activities</c:v>
                </c:pt>
                <c:pt idx="10">
                  <c:v>Professional, scientific and technical activities</c:v>
                </c:pt>
                <c:pt idx="11">
                  <c:v>Accommodation and food service activities</c:v>
                </c:pt>
                <c:pt idx="12">
                  <c:v>Administrative and support service activities</c:v>
                </c:pt>
                <c:pt idx="13">
                  <c:v>Other Sectors</c:v>
                </c:pt>
              </c:strCache>
            </c:strRef>
          </c:cat>
          <c:val>
            <c:numRef>
              <c:f>Sheet1!$B$2:$B$15</c:f>
              <c:numCache>
                <c:formatCode>0.0</c:formatCode>
                <c:ptCount val="14"/>
                <c:pt idx="0">
                  <c:v>29.957024174280932</c:v>
                </c:pt>
                <c:pt idx="1">
                  <c:v>11.55925036671999</c:v>
                </c:pt>
                <c:pt idx="2">
                  <c:v>8.5339837134939938</c:v>
                </c:pt>
                <c:pt idx="3">
                  <c:v>8.4627034699800952</c:v>
                </c:pt>
                <c:pt idx="4">
                  <c:v>8.4504419328335825</c:v>
                </c:pt>
                <c:pt idx="5">
                  <c:v>5.8878429908585623</c:v>
                </c:pt>
                <c:pt idx="6">
                  <c:v>5.4586797435811709</c:v>
                </c:pt>
                <c:pt idx="7">
                  <c:v>5.4133024943990966</c:v>
                </c:pt>
                <c:pt idx="8">
                  <c:v>2.9800628894485177</c:v>
                </c:pt>
                <c:pt idx="9">
                  <c:v>2.782542985069099</c:v>
                </c:pt>
                <c:pt idx="10">
                  <c:v>2.503933043084384</c:v>
                </c:pt>
                <c:pt idx="11">
                  <c:v>2.2526398397667728</c:v>
                </c:pt>
                <c:pt idx="12">
                  <c:v>1.7662236644930913</c:v>
                </c:pt>
                <c:pt idx="13">
                  <c:v>3.9913686919907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667-4A6E-8734-AEAE502D28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5"/>
        <c:overlap val="-1"/>
        <c:axId val="-2059102752"/>
        <c:axId val="-2059110368"/>
      </c:barChart>
      <c:dateAx>
        <c:axId val="-2059102752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-2059110368"/>
        <c:crosses val="autoZero"/>
        <c:auto val="0"/>
        <c:lblOffset val="100"/>
        <c:baseTimeUnit val="days"/>
      </c:dateAx>
      <c:valAx>
        <c:axId val="-2059110368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-2059102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ar-AE" sz="2800" b="0" i="0" u="none" strike="noStrike" kern="1200" spc="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ar-AE" sz="2000" kern="12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ar-AE" sz="2800" b="0" i="0" u="none" strike="noStrike" kern="1200" spc="0" baseline="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مقارنة معيارية عالمية'!$L$12:$U$12</c:f>
              <c:strCache>
                <c:ptCount val="10"/>
                <c:pt idx="0">
                  <c:v>United States</c:v>
                </c:pt>
                <c:pt idx="1">
                  <c:v>China</c:v>
                </c:pt>
                <c:pt idx="2">
                  <c:v>Singapore</c:v>
                </c:pt>
                <c:pt idx="3">
                  <c:v>Netherlands</c:v>
                </c:pt>
                <c:pt idx="4">
                  <c:v>Ireland</c:v>
                </c:pt>
                <c:pt idx="5">
                  <c:v>Brazil</c:v>
                </c:pt>
                <c:pt idx="6">
                  <c:v>Hong Kong, China</c:v>
                </c:pt>
                <c:pt idx="7">
                  <c:v>United Kingdom</c:v>
                </c:pt>
                <c:pt idx="8">
                  <c:v>India</c:v>
                </c:pt>
                <c:pt idx="9">
                  <c:v>Canada</c:v>
                </c:pt>
              </c:strCache>
            </c:strRef>
          </c:cat>
          <c:val>
            <c:numRef>
              <c:f>'مقارنة معيارية عالمية'!$L$13:$U$13</c:f>
              <c:numCache>
                <c:formatCode>#\ ###\ ##0.0;\-#\ ###\ ##0.0;"-"</c:formatCode>
                <c:ptCount val="10"/>
                <c:pt idx="0">
                  <c:v>246215</c:v>
                </c:pt>
                <c:pt idx="1">
                  <c:v>141225</c:v>
                </c:pt>
                <c:pt idx="2">
                  <c:v>92080.54773633591</c:v>
                </c:pt>
                <c:pt idx="3">
                  <c:v>84215.60500000001</c:v>
                </c:pt>
                <c:pt idx="4">
                  <c:v>78234.14830736164</c:v>
                </c:pt>
                <c:pt idx="5">
                  <c:v>71989.270230900001</c:v>
                </c:pt>
                <c:pt idx="6">
                  <c:v>68378.952311917426</c:v>
                </c:pt>
                <c:pt idx="7">
                  <c:v>59137.149786202055</c:v>
                </c:pt>
                <c:pt idx="8">
                  <c:v>50552.961999330029</c:v>
                </c:pt>
                <c:pt idx="9">
                  <c:v>50331.8905678863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AD-4556-9B6F-40FF592DC63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2059109824"/>
        <c:axId val="-2059108192"/>
      </c:barChart>
      <c:catAx>
        <c:axId val="-2059109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2059108192"/>
        <c:crosses val="autoZero"/>
        <c:auto val="1"/>
        <c:lblAlgn val="ctr"/>
        <c:lblOffset val="100"/>
        <c:noMultiLvlLbl val="0"/>
      </c:catAx>
      <c:valAx>
        <c:axId val="-205910819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#\ ##0.0;\-#\ ###\ ##0.0;&quot;-&quot;" sourceLinked="1"/>
        <c:majorTickMark val="none"/>
        <c:minorTickMark val="none"/>
        <c:tickLblPos val="nextTo"/>
        <c:crossAx val="-2059109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 sz="1200" dirty="0"/>
              <a:t>FDI</a:t>
            </a:r>
            <a:r>
              <a:rPr lang="en-US" sz="1200" baseline="0" dirty="0"/>
              <a:t> Inflows, By Top West Asia Country 2019</a:t>
            </a:r>
          </a:p>
          <a:p>
            <a:pPr>
              <a:defRPr/>
            </a:pPr>
            <a:r>
              <a:rPr lang="en-US" sz="1200" baseline="0" dirty="0"/>
              <a:t>Millions of USD $ </a:t>
            </a:r>
            <a:endParaRPr lang="en-US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0878671894009287E-2"/>
          <c:y val="0.20728707870840998"/>
          <c:w val="0.90011821312576767"/>
          <c:h val="0.5671419762828801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2570-4D24-A22C-B8893B49D0C6}"/>
              </c:ext>
            </c:extLst>
          </c:dPt>
          <c:dLbls>
            <c:dLbl>
              <c:idx val="9"/>
              <c:layout>
                <c:manualLayout>
                  <c:x val="0"/>
                  <c:y val="-3.919794964571084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570-4D24-A22C-B8893B49D0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غرب اسيا 2020'!$I$3:$T$3</c:f>
              <c:strCache>
                <c:ptCount val="12"/>
                <c:pt idx="0">
                  <c:v>United Arab Emirates</c:v>
                </c:pt>
                <c:pt idx="1">
                  <c:v>Turkey</c:v>
                </c:pt>
                <c:pt idx="2">
                  <c:v>Saudi Arabia</c:v>
                </c:pt>
                <c:pt idx="3">
                  <c:v>Oman</c:v>
                </c:pt>
                <c:pt idx="4">
                  <c:v>Lebanon</c:v>
                </c:pt>
                <c:pt idx="5">
                  <c:v>Bahrain</c:v>
                </c:pt>
                <c:pt idx="6">
                  <c:v>Jordan</c:v>
                </c:pt>
                <c:pt idx="7">
                  <c:v>Palestine</c:v>
                </c:pt>
                <c:pt idx="8">
                  <c:v>Kuwait</c:v>
                </c:pt>
                <c:pt idx="9">
                  <c:v>Yemen</c:v>
                </c:pt>
                <c:pt idx="10">
                  <c:v>Qatar</c:v>
                </c:pt>
                <c:pt idx="11">
                  <c:v>Iraq</c:v>
                </c:pt>
              </c:strCache>
            </c:strRef>
          </c:cat>
          <c:val>
            <c:numRef>
              <c:f>'غرب اسيا 2020'!$I$4:$T$4</c:f>
              <c:numCache>
                <c:formatCode>0.0</c:formatCode>
                <c:ptCount val="12"/>
                <c:pt idx="0">
                  <c:v>13787</c:v>
                </c:pt>
                <c:pt idx="1">
                  <c:v>8434</c:v>
                </c:pt>
                <c:pt idx="2">
                  <c:v>4562</c:v>
                </c:pt>
                <c:pt idx="3">
                  <c:v>3125</c:v>
                </c:pt>
                <c:pt idx="4">
                  <c:v>2128</c:v>
                </c:pt>
                <c:pt idx="5">
                  <c:v>942</c:v>
                </c:pt>
                <c:pt idx="6">
                  <c:v>916</c:v>
                </c:pt>
                <c:pt idx="7">
                  <c:v>252</c:v>
                </c:pt>
                <c:pt idx="8">
                  <c:v>104</c:v>
                </c:pt>
                <c:pt idx="9">
                  <c:v>-371</c:v>
                </c:pt>
                <c:pt idx="10">
                  <c:v>-2813</c:v>
                </c:pt>
                <c:pt idx="11">
                  <c:v>-3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70-4D24-A22C-B8893B49D0C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-2059107648"/>
        <c:axId val="-2059107104"/>
      </c:barChart>
      <c:catAx>
        <c:axId val="-2059107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59107104"/>
        <c:crosses val="autoZero"/>
        <c:auto val="1"/>
        <c:lblAlgn val="ctr"/>
        <c:lblOffset val="100"/>
        <c:noMultiLvlLbl val="0"/>
      </c:catAx>
      <c:valAx>
        <c:axId val="-20591071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crossAx val="-2059107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B733B9-8EC0-42B5-8E57-02021CC32B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EAE7FE-5257-44BC-A234-983385E49E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053CA-6C57-4F62-BDA1-685AD8AE14C0}" type="datetimeFigureOut">
              <a:rPr lang="en-ID" smtClean="0"/>
              <a:pPr/>
              <a:t>08/04/2021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A70588-37CF-49E6-87F2-C8E1A884FF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47669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489EC0-97F0-4BF1-B975-36615910DF41}" type="datetimeFigureOut">
              <a:rPr lang="en-ID" smtClean="0"/>
              <a:pPr/>
              <a:t>08/04/20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D21E5-C797-4859-80D8-9F6BFF6A8A42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15665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 /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3.jpeg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 /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 /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6630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FE4DCD9-D499-4617-9A73-FDD93F9858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822802" y="0"/>
            <a:ext cx="5397774" cy="6858000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19792CC5-0529-4FD6-892B-F4942D5634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1317562"/>
            <a:ext cx="5895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F703512-4B93-4A84-AA08-BC3F9ABA2C6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07832" y="1877477"/>
            <a:ext cx="5834969" cy="3527000"/>
          </a:xfrm>
          <a:custGeom>
            <a:avLst/>
            <a:gdLst>
              <a:gd name="connsiteX0" fmla="*/ 309978 w 5834969"/>
              <a:gd name="connsiteY0" fmla="*/ 0 h 3527000"/>
              <a:gd name="connsiteX1" fmla="*/ 465770 w 5834969"/>
              <a:gd name="connsiteY1" fmla="*/ 20879 h 3527000"/>
              <a:gd name="connsiteX2" fmla="*/ 5834969 w 5834969"/>
              <a:gd name="connsiteY2" fmla="*/ 831961 h 3527000"/>
              <a:gd name="connsiteX3" fmla="*/ 5834969 w 5834969"/>
              <a:gd name="connsiteY3" fmla="*/ 2293514 h 3527000"/>
              <a:gd name="connsiteX4" fmla="*/ 465770 w 5834969"/>
              <a:gd name="connsiteY4" fmla="*/ 3430634 h 3527000"/>
              <a:gd name="connsiteX5" fmla="*/ 0 w 5834969"/>
              <a:gd name="connsiteY5" fmla="*/ 3527000 h 35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34969" h="3527000">
                <a:moveTo>
                  <a:pt x="309978" y="0"/>
                </a:moveTo>
                <a:lnTo>
                  <a:pt x="465770" y="20879"/>
                </a:lnTo>
                <a:lnTo>
                  <a:pt x="5834969" y="831961"/>
                </a:lnTo>
                <a:lnTo>
                  <a:pt x="5834969" y="2293514"/>
                </a:lnTo>
                <a:lnTo>
                  <a:pt x="465770" y="3430634"/>
                </a:lnTo>
                <a:lnTo>
                  <a:pt x="0" y="352700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742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C7D343AE-9CAA-4AEA-8D74-7C827992A2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48265" y="1141577"/>
            <a:ext cx="5895470" cy="9144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9FA17E1-2875-45AC-ABD5-74A5B29555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371600"/>
            <a:ext cx="12192000" cy="5486400"/>
          </a:xfrm>
          <a:custGeom>
            <a:avLst/>
            <a:gdLst>
              <a:gd name="connsiteX0" fmla="*/ 12192000 w 12192000"/>
              <a:gd name="connsiteY0" fmla="*/ 0 h 5486400"/>
              <a:gd name="connsiteX1" fmla="*/ 12192000 w 12192000"/>
              <a:gd name="connsiteY1" fmla="*/ 5486400 h 5486400"/>
              <a:gd name="connsiteX2" fmla="*/ 0 w 12192000"/>
              <a:gd name="connsiteY2" fmla="*/ 5486400 h 5486400"/>
              <a:gd name="connsiteX3" fmla="*/ 0 w 12192000"/>
              <a:gd name="connsiteY3" fmla="*/ 835597 h 5486400"/>
              <a:gd name="connsiteX4" fmla="*/ 7875313 w 12192000"/>
              <a:gd name="connsiteY4" fmla="*/ 2345651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5486400">
                <a:moveTo>
                  <a:pt x="12192000" y="0"/>
                </a:moveTo>
                <a:lnTo>
                  <a:pt x="12192000" y="5486400"/>
                </a:lnTo>
                <a:lnTo>
                  <a:pt x="0" y="5486400"/>
                </a:lnTo>
                <a:lnTo>
                  <a:pt x="0" y="835597"/>
                </a:lnTo>
                <a:lnTo>
                  <a:pt x="7875313" y="2345651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4724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D21FE4F-DF55-47AD-AE03-B0D5E310A3F0}"/>
              </a:ext>
            </a:extLst>
          </p:cNvPr>
          <p:cNvGrpSpPr/>
          <p:nvPr userDrawn="1"/>
        </p:nvGrpSpPr>
        <p:grpSpPr>
          <a:xfrm rot="10800000">
            <a:off x="436195" y="1116010"/>
            <a:ext cx="11265809" cy="446572"/>
            <a:chOff x="1039308" y="1116010"/>
            <a:chExt cx="9018505" cy="337739"/>
          </a:xfrm>
        </p:grpSpPr>
        <p:sp>
          <p:nvSpPr>
            <p:cNvPr id="12" name="مستطيل 12">
              <a:extLst>
                <a:ext uri="{FF2B5EF4-FFF2-40B4-BE49-F238E27FC236}">
                  <a16:creationId xmlns:a16="http://schemas.microsoft.com/office/drawing/2014/main" id="{C9C89889-49F9-420B-98F8-E44B19CAFDDA}"/>
                </a:ext>
              </a:extLst>
            </p:cNvPr>
            <p:cNvSpPr/>
            <p:nvPr userDrawn="1"/>
          </p:nvSpPr>
          <p:spPr>
            <a:xfrm>
              <a:off x="1039308" y="1116010"/>
              <a:ext cx="9009762" cy="337739"/>
            </a:xfrm>
            <a:prstGeom prst="rect">
              <a:avLst/>
            </a:prstGeom>
            <a:solidFill>
              <a:srgbClr val="ECDE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مستطيل 12">
              <a:extLst>
                <a:ext uri="{FF2B5EF4-FFF2-40B4-BE49-F238E27FC236}">
                  <a16:creationId xmlns:a16="http://schemas.microsoft.com/office/drawing/2014/main" id="{B38A7E16-F3B5-4D1D-AFBC-9CE0A6FB661F}"/>
                </a:ext>
              </a:extLst>
            </p:cNvPr>
            <p:cNvSpPr/>
            <p:nvPr userDrawn="1"/>
          </p:nvSpPr>
          <p:spPr>
            <a:xfrm>
              <a:off x="9942066" y="1116010"/>
              <a:ext cx="115747" cy="337739"/>
            </a:xfrm>
            <a:prstGeom prst="rect">
              <a:avLst/>
            </a:prstGeom>
            <a:solidFill>
              <a:srgbClr val="AD83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39D736D-7880-4442-9BB2-9DAFBCF5B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7685" y="6295509"/>
            <a:ext cx="1134319" cy="320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fld id="{950356F5-5040-45F3-9DFE-AA818FBF1AB1}" type="slidenum">
              <a:rPr lang="en-ID" smtClean="0"/>
              <a:pPr/>
              <a:t>‹#›</a:t>
            </a:fld>
            <a:endParaRPr lang="en-ID" dirty="0"/>
          </a:p>
        </p:txBody>
      </p:sp>
      <p:pic>
        <p:nvPicPr>
          <p:cNvPr id="14" name="رسم 4">
            <a:extLst>
              <a:ext uri="{FF2B5EF4-FFF2-40B4-BE49-F238E27FC236}">
                <a16:creationId xmlns:a16="http://schemas.microsoft.com/office/drawing/2014/main" id="{2648ED85-B652-4FFE-9D29-BBD6A6B5EF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07998" y="136365"/>
            <a:ext cx="594006" cy="47977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563"/>
            <a:ext cx="2552569" cy="107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4941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0350AD9F-E5C5-4238-A627-66A34D22AD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5700" y="1049975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/>
          </a:p>
        </p:txBody>
      </p:sp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8CF269FB-7892-4134-8F06-BB7AE73A8CB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55198" y="2722681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/>
          </a:p>
        </p:txBody>
      </p:sp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7B00A640-1D81-4EA1-B15F-7E1BF4DFF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9826" y="2722681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/>
          </a:p>
        </p:txBody>
      </p:sp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DBFC67EE-CB9B-418C-8B23-2C83EC212F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00977" y="2722681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/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CAC93C5E-24AC-45CC-835C-C29749B1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8675" y="4395253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 dirty="0"/>
          </a:p>
        </p:txBody>
      </p:sp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9C3667DA-087C-477E-A5F6-A7BDBA88437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33303" y="4395253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/>
          </a:p>
        </p:txBody>
      </p:sp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F10CF0FC-738B-44FF-8CD6-F50651A3A58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04454" y="4395253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 dirty="0"/>
          </a:p>
        </p:txBody>
      </p:sp>
      <p:sp>
        <p:nvSpPr>
          <p:cNvPr id="9" name="Picture Placeholder 15">
            <a:extLst>
              <a:ext uri="{FF2B5EF4-FFF2-40B4-BE49-F238E27FC236}">
                <a16:creationId xmlns:a16="http://schemas.microsoft.com/office/drawing/2014/main" id="{F672CB63-E9E9-41CD-B3C8-A666E27515F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30881" y="1048958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/>
          </a:p>
        </p:txBody>
      </p:sp>
      <p:sp>
        <p:nvSpPr>
          <p:cNvPr id="10" name="Picture Placeholder 15">
            <a:extLst>
              <a:ext uri="{FF2B5EF4-FFF2-40B4-BE49-F238E27FC236}">
                <a16:creationId xmlns:a16="http://schemas.microsoft.com/office/drawing/2014/main" id="{C5FE1991-39B7-4A0D-8A09-DA39DFA249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2876" y="1048958"/>
            <a:ext cx="1668463" cy="1668462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75E735DC-638B-4941-8CBA-2CE6B0BFE3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599" y="1825562"/>
            <a:ext cx="4360659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134580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E673799-E3B6-47C3-ACC2-FB1954ED71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75" y="4764"/>
            <a:ext cx="5675614" cy="4986337"/>
          </a:xfrm>
          <a:custGeom>
            <a:avLst/>
            <a:gdLst>
              <a:gd name="connsiteX0" fmla="*/ 0 w 5675614"/>
              <a:gd name="connsiteY0" fmla="*/ 0 h 4986337"/>
              <a:gd name="connsiteX1" fmla="*/ 5675614 w 5675614"/>
              <a:gd name="connsiteY1" fmla="*/ 0 h 4986337"/>
              <a:gd name="connsiteX2" fmla="*/ 3888812 w 5675614"/>
              <a:gd name="connsiteY2" fmla="*/ 4141356 h 4986337"/>
              <a:gd name="connsiteX3" fmla="*/ 0 w 5675614"/>
              <a:gd name="connsiteY3" fmla="*/ 4986337 h 4986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5614" h="4986337">
                <a:moveTo>
                  <a:pt x="0" y="0"/>
                </a:moveTo>
                <a:lnTo>
                  <a:pt x="5675614" y="0"/>
                </a:lnTo>
                <a:lnTo>
                  <a:pt x="3888812" y="4141356"/>
                </a:lnTo>
                <a:lnTo>
                  <a:pt x="0" y="4986337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8878C00-487D-498F-8FD0-BF069F88B0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78789" y="1825562"/>
            <a:ext cx="5895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3928927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DC57DE5-35F4-41F8-8176-5522167CB7F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0535" y="809193"/>
            <a:ext cx="2293257" cy="2293257"/>
          </a:xfrm>
          <a:custGeom>
            <a:avLst/>
            <a:gdLst>
              <a:gd name="connsiteX0" fmla="*/ 0 w 2293257"/>
              <a:gd name="connsiteY0" fmla="*/ 0 h 2293257"/>
              <a:gd name="connsiteX1" fmla="*/ 1911040 w 2293257"/>
              <a:gd name="connsiteY1" fmla="*/ 0 h 2293257"/>
              <a:gd name="connsiteX2" fmla="*/ 2293257 w 2293257"/>
              <a:gd name="connsiteY2" fmla="*/ 382217 h 2293257"/>
              <a:gd name="connsiteX3" fmla="*/ 2293257 w 2293257"/>
              <a:gd name="connsiteY3" fmla="*/ 2293257 h 2293257"/>
              <a:gd name="connsiteX4" fmla="*/ 382217 w 2293257"/>
              <a:gd name="connsiteY4" fmla="*/ 2293257 h 2293257"/>
              <a:gd name="connsiteX5" fmla="*/ 0 w 2293257"/>
              <a:gd name="connsiteY5" fmla="*/ 1911040 h 2293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3257" h="2293257">
                <a:moveTo>
                  <a:pt x="0" y="0"/>
                </a:moveTo>
                <a:lnTo>
                  <a:pt x="1911040" y="0"/>
                </a:lnTo>
                <a:lnTo>
                  <a:pt x="2293257" y="382217"/>
                </a:lnTo>
                <a:lnTo>
                  <a:pt x="2293257" y="2293257"/>
                </a:lnTo>
                <a:lnTo>
                  <a:pt x="382217" y="2293257"/>
                </a:lnTo>
                <a:lnTo>
                  <a:pt x="0" y="191104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22603A-C49A-4810-9B74-4743FAF8D5D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41055" y="809193"/>
            <a:ext cx="2293257" cy="2293257"/>
          </a:xfrm>
          <a:custGeom>
            <a:avLst/>
            <a:gdLst>
              <a:gd name="connsiteX0" fmla="*/ 0 w 2293257"/>
              <a:gd name="connsiteY0" fmla="*/ 0 h 2293257"/>
              <a:gd name="connsiteX1" fmla="*/ 1911040 w 2293257"/>
              <a:gd name="connsiteY1" fmla="*/ 0 h 2293257"/>
              <a:gd name="connsiteX2" fmla="*/ 2293257 w 2293257"/>
              <a:gd name="connsiteY2" fmla="*/ 382217 h 2293257"/>
              <a:gd name="connsiteX3" fmla="*/ 2293257 w 2293257"/>
              <a:gd name="connsiteY3" fmla="*/ 2293257 h 2293257"/>
              <a:gd name="connsiteX4" fmla="*/ 382217 w 2293257"/>
              <a:gd name="connsiteY4" fmla="*/ 2293257 h 2293257"/>
              <a:gd name="connsiteX5" fmla="*/ 0 w 2293257"/>
              <a:gd name="connsiteY5" fmla="*/ 1911040 h 2293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93257" h="2293257">
                <a:moveTo>
                  <a:pt x="0" y="0"/>
                </a:moveTo>
                <a:lnTo>
                  <a:pt x="1911040" y="0"/>
                </a:lnTo>
                <a:lnTo>
                  <a:pt x="2293257" y="382217"/>
                </a:lnTo>
                <a:lnTo>
                  <a:pt x="2293257" y="2293257"/>
                </a:lnTo>
                <a:lnTo>
                  <a:pt x="382217" y="2293257"/>
                </a:lnTo>
                <a:lnTo>
                  <a:pt x="0" y="191104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388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B5FC7A2-9DBF-4FA8-BBAA-980454BEE10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89" y="3176"/>
            <a:ext cx="12186985" cy="6854825"/>
          </a:xfrm>
          <a:custGeom>
            <a:avLst/>
            <a:gdLst>
              <a:gd name="connsiteX0" fmla="*/ 11488169 w 12186985"/>
              <a:gd name="connsiteY0" fmla="*/ 0 h 6854825"/>
              <a:gd name="connsiteX1" fmla="*/ 12186985 w 12186985"/>
              <a:gd name="connsiteY1" fmla="*/ 0 h 6854825"/>
              <a:gd name="connsiteX2" fmla="*/ 12186985 w 12186985"/>
              <a:gd name="connsiteY2" fmla="*/ 6854825 h 6854825"/>
              <a:gd name="connsiteX3" fmla="*/ 9701769 w 12186985"/>
              <a:gd name="connsiteY3" fmla="*/ 4040282 h 6854825"/>
              <a:gd name="connsiteX4" fmla="*/ 0 w 12186985"/>
              <a:gd name="connsiteY4" fmla="*/ 0 h 6854825"/>
              <a:gd name="connsiteX5" fmla="*/ 1662701 w 12186985"/>
              <a:gd name="connsiteY5" fmla="*/ 0 h 6854825"/>
              <a:gd name="connsiteX6" fmla="*/ 2771169 w 12186985"/>
              <a:gd name="connsiteY6" fmla="*/ 1397633 h 6854825"/>
              <a:gd name="connsiteX7" fmla="*/ 1278754 w 12186985"/>
              <a:gd name="connsiteY7" fmla="*/ 6854825 h 6854825"/>
              <a:gd name="connsiteX8" fmla="*/ 0 w 12186985"/>
              <a:gd name="connsiteY8" fmla="*/ 6854825 h 685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6985" h="6854825">
                <a:moveTo>
                  <a:pt x="11488169" y="0"/>
                </a:moveTo>
                <a:lnTo>
                  <a:pt x="12186985" y="0"/>
                </a:lnTo>
                <a:lnTo>
                  <a:pt x="12186985" y="6854825"/>
                </a:lnTo>
                <a:lnTo>
                  <a:pt x="9701769" y="4040282"/>
                </a:lnTo>
                <a:close/>
                <a:moveTo>
                  <a:pt x="0" y="0"/>
                </a:moveTo>
                <a:lnTo>
                  <a:pt x="1662701" y="0"/>
                </a:lnTo>
                <a:lnTo>
                  <a:pt x="2771169" y="1397633"/>
                </a:lnTo>
                <a:lnTo>
                  <a:pt x="1278754" y="6854825"/>
                </a:lnTo>
                <a:lnTo>
                  <a:pt x="0" y="68548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02B15569-E0A8-4CB7-AFC5-83801F422DD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48265" y="2651062"/>
            <a:ext cx="5895470" cy="9144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199471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1961A5C-03A5-4357-9A3B-B546D7ACD8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2192000" cy="5208099"/>
          </a:xfrm>
          <a:custGeom>
            <a:avLst/>
            <a:gdLst>
              <a:gd name="connsiteX0" fmla="*/ 0 w 12192000"/>
              <a:gd name="connsiteY0" fmla="*/ 0 h 5208099"/>
              <a:gd name="connsiteX1" fmla="*/ 12192000 w 12192000"/>
              <a:gd name="connsiteY1" fmla="*/ 0 h 5208099"/>
              <a:gd name="connsiteX2" fmla="*/ 12192000 w 12192000"/>
              <a:gd name="connsiteY2" fmla="*/ 3914821 h 5208099"/>
              <a:gd name="connsiteX3" fmla="*/ 7603060 w 12192000"/>
              <a:gd name="connsiteY3" fmla="*/ 3914821 h 5208099"/>
              <a:gd name="connsiteX4" fmla="*/ 0 w 12192000"/>
              <a:gd name="connsiteY4" fmla="*/ 5208099 h 520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5208099">
                <a:moveTo>
                  <a:pt x="0" y="0"/>
                </a:moveTo>
                <a:lnTo>
                  <a:pt x="12192000" y="0"/>
                </a:lnTo>
                <a:lnTo>
                  <a:pt x="12192000" y="3914821"/>
                </a:lnTo>
                <a:lnTo>
                  <a:pt x="7603060" y="3914821"/>
                </a:lnTo>
                <a:lnTo>
                  <a:pt x="0" y="5208099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DB74E25-43CD-446E-9541-704F1E86F4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3900" y="736600"/>
            <a:ext cx="6781800" cy="16891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974809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47457F51-0A79-407C-9C3E-024037BAA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76030" y="834962"/>
            <a:ext cx="4612770" cy="1781238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EC01FC94-E491-4D1B-B4DE-26B6A3AF25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8286" y="526143"/>
            <a:ext cx="2757714" cy="2757714"/>
          </a:xfrm>
          <a:custGeom>
            <a:avLst/>
            <a:gdLst>
              <a:gd name="connsiteX0" fmla="*/ 0 w 2757714"/>
              <a:gd name="connsiteY0" fmla="*/ 0 h 2757714"/>
              <a:gd name="connsiteX1" fmla="*/ 2757714 w 2757714"/>
              <a:gd name="connsiteY1" fmla="*/ 0 h 2757714"/>
              <a:gd name="connsiteX2" fmla="*/ 2757714 w 2757714"/>
              <a:gd name="connsiteY2" fmla="*/ 2757714 h 2757714"/>
              <a:gd name="connsiteX3" fmla="*/ 0 w 2757714"/>
              <a:gd name="connsiteY3" fmla="*/ 2757714 h 275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7714" h="2757714">
                <a:moveTo>
                  <a:pt x="0" y="0"/>
                </a:moveTo>
                <a:lnTo>
                  <a:pt x="2757714" y="0"/>
                </a:lnTo>
                <a:lnTo>
                  <a:pt x="2757714" y="2757714"/>
                </a:lnTo>
                <a:lnTo>
                  <a:pt x="0" y="275771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1F3725BE-3364-4BD8-8F47-A4F021A8719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17257" y="526143"/>
            <a:ext cx="2757714" cy="2757714"/>
          </a:xfrm>
          <a:custGeom>
            <a:avLst/>
            <a:gdLst>
              <a:gd name="connsiteX0" fmla="*/ 0 w 2757714"/>
              <a:gd name="connsiteY0" fmla="*/ 0 h 2757714"/>
              <a:gd name="connsiteX1" fmla="*/ 2757714 w 2757714"/>
              <a:gd name="connsiteY1" fmla="*/ 0 h 2757714"/>
              <a:gd name="connsiteX2" fmla="*/ 2757714 w 2757714"/>
              <a:gd name="connsiteY2" fmla="*/ 2757714 h 2757714"/>
              <a:gd name="connsiteX3" fmla="*/ 0 w 2757714"/>
              <a:gd name="connsiteY3" fmla="*/ 2757714 h 275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7714" h="2757714">
                <a:moveTo>
                  <a:pt x="0" y="0"/>
                </a:moveTo>
                <a:lnTo>
                  <a:pt x="2757714" y="0"/>
                </a:lnTo>
                <a:lnTo>
                  <a:pt x="2757714" y="2757714"/>
                </a:lnTo>
                <a:lnTo>
                  <a:pt x="0" y="275771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C63AFC3C-7F3D-4802-8B70-66AE8A9443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17257" y="3574143"/>
            <a:ext cx="2757714" cy="2757714"/>
          </a:xfrm>
          <a:custGeom>
            <a:avLst/>
            <a:gdLst>
              <a:gd name="connsiteX0" fmla="*/ 0 w 2757714"/>
              <a:gd name="connsiteY0" fmla="*/ 0 h 2757714"/>
              <a:gd name="connsiteX1" fmla="*/ 2757714 w 2757714"/>
              <a:gd name="connsiteY1" fmla="*/ 0 h 2757714"/>
              <a:gd name="connsiteX2" fmla="*/ 2757714 w 2757714"/>
              <a:gd name="connsiteY2" fmla="*/ 2757714 h 2757714"/>
              <a:gd name="connsiteX3" fmla="*/ 0 w 2757714"/>
              <a:gd name="connsiteY3" fmla="*/ 2757714 h 275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7714" h="2757714">
                <a:moveTo>
                  <a:pt x="0" y="0"/>
                </a:moveTo>
                <a:lnTo>
                  <a:pt x="2757714" y="0"/>
                </a:lnTo>
                <a:lnTo>
                  <a:pt x="2757714" y="2757714"/>
                </a:lnTo>
                <a:lnTo>
                  <a:pt x="0" y="275771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F0778ADB-21FF-4F5B-998E-238D2B5E06F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8286" y="3574143"/>
            <a:ext cx="2757714" cy="2757714"/>
          </a:xfrm>
          <a:custGeom>
            <a:avLst/>
            <a:gdLst>
              <a:gd name="connsiteX0" fmla="*/ 0 w 2757714"/>
              <a:gd name="connsiteY0" fmla="*/ 0 h 2757714"/>
              <a:gd name="connsiteX1" fmla="*/ 2757714 w 2757714"/>
              <a:gd name="connsiteY1" fmla="*/ 0 h 2757714"/>
              <a:gd name="connsiteX2" fmla="*/ 2757714 w 2757714"/>
              <a:gd name="connsiteY2" fmla="*/ 2757714 h 2757714"/>
              <a:gd name="connsiteX3" fmla="*/ 0 w 2757714"/>
              <a:gd name="connsiteY3" fmla="*/ 2757714 h 275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7714" h="2757714">
                <a:moveTo>
                  <a:pt x="0" y="0"/>
                </a:moveTo>
                <a:lnTo>
                  <a:pt x="2757714" y="0"/>
                </a:lnTo>
                <a:lnTo>
                  <a:pt x="2757714" y="2757714"/>
                </a:lnTo>
                <a:lnTo>
                  <a:pt x="0" y="275771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25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250E9BB3-FA0B-4EDF-8D5D-C62388FE91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809562"/>
            <a:ext cx="5895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43571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EB6DC6C-5733-4098-8FF8-6EDD3E3D409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25400"/>
            <a:ext cx="5626100" cy="6870700"/>
          </a:xfrm>
          <a:custGeom>
            <a:avLst/>
            <a:gdLst>
              <a:gd name="connsiteX0" fmla="*/ 0 w 5626100"/>
              <a:gd name="connsiteY0" fmla="*/ 0 h 6870700"/>
              <a:gd name="connsiteX1" fmla="*/ 5626100 w 5626100"/>
              <a:gd name="connsiteY1" fmla="*/ 0 h 6870700"/>
              <a:gd name="connsiteX2" fmla="*/ 5029200 w 5626100"/>
              <a:gd name="connsiteY2" fmla="*/ 1536700 h 6870700"/>
              <a:gd name="connsiteX3" fmla="*/ 3810000 w 5626100"/>
              <a:gd name="connsiteY3" fmla="*/ 3111500 h 6870700"/>
              <a:gd name="connsiteX4" fmla="*/ 4483100 w 5626100"/>
              <a:gd name="connsiteY4" fmla="*/ 6858000 h 6870700"/>
              <a:gd name="connsiteX5" fmla="*/ 0 w 5626100"/>
              <a:gd name="connsiteY5" fmla="*/ 687070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26100" h="6870700">
                <a:moveTo>
                  <a:pt x="0" y="0"/>
                </a:moveTo>
                <a:lnTo>
                  <a:pt x="5626100" y="0"/>
                </a:lnTo>
                <a:lnTo>
                  <a:pt x="5029200" y="1536700"/>
                </a:lnTo>
                <a:lnTo>
                  <a:pt x="3810000" y="3111500"/>
                </a:lnTo>
                <a:lnTo>
                  <a:pt x="4483100" y="6858000"/>
                </a:lnTo>
                <a:lnTo>
                  <a:pt x="0" y="68707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D29829C-50D6-45AB-B25A-97531F406A6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51001" y="1841500"/>
            <a:ext cx="3800475" cy="2857500"/>
          </a:xfrm>
          <a:custGeom>
            <a:avLst/>
            <a:gdLst>
              <a:gd name="connsiteX0" fmla="*/ 714375 w 3800475"/>
              <a:gd name="connsiteY0" fmla="*/ 0 h 2857500"/>
              <a:gd name="connsiteX1" fmla="*/ 3800475 w 3800475"/>
              <a:gd name="connsiteY1" fmla="*/ 0 h 2857500"/>
              <a:gd name="connsiteX2" fmla="*/ 3086100 w 3800475"/>
              <a:gd name="connsiteY2" fmla="*/ 2857500 h 2857500"/>
              <a:gd name="connsiteX3" fmla="*/ 0 w 3800475"/>
              <a:gd name="connsiteY3" fmla="*/ 285750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0475" h="2857500">
                <a:moveTo>
                  <a:pt x="714375" y="0"/>
                </a:moveTo>
                <a:lnTo>
                  <a:pt x="3800475" y="0"/>
                </a:lnTo>
                <a:lnTo>
                  <a:pt x="3086100" y="2857500"/>
                </a:lnTo>
                <a:lnTo>
                  <a:pt x="0" y="285750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426DE13-A42E-4E47-8D58-2A52EDD02C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402" y="927100"/>
            <a:ext cx="4660898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7073039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250E9BB3-FA0B-4EDF-8D5D-C62388FE91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809562"/>
            <a:ext cx="5895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30E7307-B922-4013-8E32-F51DCDE015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08100" y="3505200"/>
            <a:ext cx="3211083" cy="2217414"/>
          </a:xfrm>
          <a:custGeom>
            <a:avLst/>
            <a:gdLst>
              <a:gd name="connsiteX0" fmla="*/ 190501 w 3211083"/>
              <a:gd name="connsiteY0" fmla="*/ 0 h 2217414"/>
              <a:gd name="connsiteX1" fmla="*/ 907144 w 3211083"/>
              <a:gd name="connsiteY1" fmla="*/ 1003300 h 2217414"/>
              <a:gd name="connsiteX2" fmla="*/ 3211083 w 3211083"/>
              <a:gd name="connsiteY2" fmla="*/ 1003300 h 2217414"/>
              <a:gd name="connsiteX3" fmla="*/ 3211083 w 3211083"/>
              <a:gd name="connsiteY3" fmla="*/ 2217414 h 2217414"/>
              <a:gd name="connsiteX4" fmla="*/ 0 w 3211083"/>
              <a:gd name="connsiteY4" fmla="*/ 2217414 h 2217414"/>
              <a:gd name="connsiteX5" fmla="*/ 0 w 3211083"/>
              <a:gd name="connsiteY5" fmla="*/ 1003300 h 2217414"/>
              <a:gd name="connsiteX6" fmla="*/ 595194 w 3211083"/>
              <a:gd name="connsiteY6" fmla="*/ 1003300 h 221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11083" h="2217414">
                <a:moveTo>
                  <a:pt x="190501" y="0"/>
                </a:moveTo>
                <a:lnTo>
                  <a:pt x="907144" y="1003300"/>
                </a:lnTo>
                <a:lnTo>
                  <a:pt x="3211083" y="1003300"/>
                </a:lnTo>
                <a:lnTo>
                  <a:pt x="3211083" y="2217414"/>
                </a:lnTo>
                <a:lnTo>
                  <a:pt x="0" y="2217414"/>
                </a:lnTo>
                <a:lnTo>
                  <a:pt x="0" y="1003300"/>
                </a:lnTo>
                <a:lnTo>
                  <a:pt x="595194" y="10033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EC6D585-0FDE-4B95-AB25-7DDE0012E6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18051" y="1182900"/>
            <a:ext cx="3211083" cy="2944600"/>
          </a:xfrm>
          <a:custGeom>
            <a:avLst/>
            <a:gdLst>
              <a:gd name="connsiteX0" fmla="*/ 0 w 3211083"/>
              <a:gd name="connsiteY0" fmla="*/ 0 h 2944600"/>
              <a:gd name="connsiteX1" fmla="*/ 3211083 w 3211083"/>
              <a:gd name="connsiteY1" fmla="*/ 0 h 2944600"/>
              <a:gd name="connsiteX2" fmla="*/ 3211083 w 3211083"/>
              <a:gd name="connsiteY2" fmla="*/ 1214114 h 2944600"/>
              <a:gd name="connsiteX3" fmla="*/ 732256 w 3211083"/>
              <a:gd name="connsiteY3" fmla="*/ 1214114 h 2944600"/>
              <a:gd name="connsiteX4" fmla="*/ 1162050 w 3211083"/>
              <a:gd name="connsiteY4" fmla="*/ 2944600 h 2944600"/>
              <a:gd name="connsiteX5" fmla="*/ 433425 w 3211083"/>
              <a:gd name="connsiteY5" fmla="*/ 1214114 h 2944600"/>
              <a:gd name="connsiteX6" fmla="*/ 0 w 3211083"/>
              <a:gd name="connsiteY6" fmla="*/ 1214114 h 294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11083" h="2944600">
                <a:moveTo>
                  <a:pt x="0" y="0"/>
                </a:moveTo>
                <a:lnTo>
                  <a:pt x="3211083" y="0"/>
                </a:lnTo>
                <a:lnTo>
                  <a:pt x="3211083" y="1214114"/>
                </a:lnTo>
                <a:lnTo>
                  <a:pt x="732256" y="1214114"/>
                </a:lnTo>
                <a:lnTo>
                  <a:pt x="1162050" y="2944600"/>
                </a:lnTo>
                <a:lnTo>
                  <a:pt x="433425" y="1214114"/>
                </a:lnTo>
                <a:lnTo>
                  <a:pt x="0" y="121411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6125FF4-F8D9-44AC-B48F-38036DB3EF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05949" y="1158201"/>
            <a:ext cx="3211083" cy="2258099"/>
          </a:xfrm>
          <a:custGeom>
            <a:avLst/>
            <a:gdLst>
              <a:gd name="connsiteX0" fmla="*/ 0 w 3211083"/>
              <a:gd name="connsiteY0" fmla="*/ 0 h 2258099"/>
              <a:gd name="connsiteX1" fmla="*/ 3211083 w 3211083"/>
              <a:gd name="connsiteY1" fmla="*/ 0 h 2258099"/>
              <a:gd name="connsiteX2" fmla="*/ 3211083 w 3211083"/>
              <a:gd name="connsiteY2" fmla="*/ 1214114 h 2258099"/>
              <a:gd name="connsiteX3" fmla="*/ 2099541 w 3211083"/>
              <a:gd name="connsiteY3" fmla="*/ 1214114 h 2258099"/>
              <a:gd name="connsiteX4" fmla="*/ 2390652 w 3211083"/>
              <a:gd name="connsiteY4" fmla="*/ 2258099 h 2258099"/>
              <a:gd name="connsiteX5" fmla="*/ 1800115 w 3211083"/>
              <a:gd name="connsiteY5" fmla="*/ 1214114 h 2258099"/>
              <a:gd name="connsiteX6" fmla="*/ 0 w 3211083"/>
              <a:gd name="connsiteY6" fmla="*/ 1214114 h 225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11083" h="2258099">
                <a:moveTo>
                  <a:pt x="0" y="0"/>
                </a:moveTo>
                <a:lnTo>
                  <a:pt x="3211083" y="0"/>
                </a:lnTo>
                <a:lnTo>
                  <a:pt x="3211083" y="1214114"/>
                </a:lnTo>
                <a:lnTo>
                  <a:pt x="2099541" y="1214114"/>
                </a:lnTo>
                <a:lnTo>
                  <a:pt x="2390652" y="2258099"/>
                </a:lnTo>
                <a:lnTo>
                  <a:pt x="1800115" y="1214114"/>
                </a:lnTo>
                <a:lnTo>
                  <a:pt x="0" y="121411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1A3DC5E-D857-432C-BA8B-0E18D1F952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38400" y="4445000"/>
            <a:ext cx="3211083" cy="1771673"/>
          </a:xfrm>
          <a:custGeom>
            <a:avLst/>
            <a:gdLst>
              <a:gd name="connsiteX0" fmla="*/ 1300701 w 3211083"/>
              <a:gd name="connsiteY0" fmla="*/ 0 h 1771673"/>
              <a:gd name="connsiteX1" fmla="*/ 2060135 w 3211083"/>
              <a:gd name="connsiteY1" fmla="*/ 557559 h 1771673"/>
              <a:gd name="connsiteX2" fmla="*/ 3211083 w 3211083"/>
              <a:gd name="connsiteY2" fmla="*/ 557559 h 1771673"/>
              <a:gd name="connsiteX3" fmla="*/ 3211083 w 3211083"/>
              <a:gd name="connsiteY3" fmla="*/ 1771673 h 1771673"/>
              <a:gd name="connsiteX4" fmla="*/ 0 w 3211083"/>
              <a:gd name="connsiteY4" fmla="*/ 1771673 h 1771673"/>
              <a:gd name="connsiteX5" fmla="*/ 0 w 3211083"/>
              <a:gd name="connsiteY5" fmla="*/ 557559 h 1771673"/>
              <a:gd name="connsiteX6" fmla="*/ 1672407 w 3211083"/>
              <a:gd name="connsiteY6" fmla="*/ 557559 h 1771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11083" h="1771673">
                <a:moveTo>
                  <a:pt x="1300701" y="0"/>
                </a:moveTo>
                <a:lnTo>
                  <a:pt x="2060135" y="557559"/>
                </a:lnTo>
                <a:lnTo>
                  <a:pt x="3211083" y="557559"/>
                </a:lnTo>
                <a:lnTo>
                  <a:pt x="3211083" y="1771673"/>
                </a:lnTo>
                <a:lnTo>
                  <a:pt x="0" y="1771673"/>
                </a:lnTo>
                <a:lnTo>
                  <a:pt x="0" y="557559"/>
                </a:lnTo>
                <a:lnTo>
                  <a:pt x="1672407" y="557559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590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E1A52F1-EF46-4B80-AAF2-5BA13F4B830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42208" y="996696"/>
            <a:ext cx="2132728" cy="4526280"/>
          </a:xfrm>
          <a:prstGeom prst="roundRect">
            <a:avLst>
              <a:gd name="adj" fmla="val 8868"/>
            </a:avLst>
          </a:prstGeo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C73D21E-BE20-4069-BB5C-6A34251B33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1203262"/>
            <a:ext cx="5895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4067876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250E9BB3-FA0B-4EDF-8D5D-C62388FE91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1571626"/>
            <a:ext cx="4323335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006C8F9-FA09-44F8-94D1-D0E4C65B7C5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250" y="1"/>
            <a:ext cx="7524750" cy="2486025"/>
          </a:xfrm>
          <a:custGeom>
            <a:avLst/>
            <a:gdLst>
              <a:gd name="connsiteX0" fmla="*/ 0 w 7524750"/>
              <a:gd name="connsiteY0" fmla="*/ 0 h 2486025"/>
              <a:gd name="connsiteX1" fmla="*/ 7524750 w 7524750"/>
              <a:gd name="connsiteY1" fmla="*/ 0 h 2486025"/>
              <a:gd name="connsiteX2" fmla="*/ 7524750 w 7524750"/>
              <a:gd name="connsiteY2" fmla="*/ 2486025 h 2486025"/>
              <a:gd name="connsiteX3" fmla="*/ 0 w 7524750"/>
              <a:gd name="connsiteY3" fmla="*/ 2486025 h 2486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24750" h="2486025">
                <a:moveTo>
                  <a:pt x="0" y="0"/>
                </a:moveTo>
                <a:lnTo>
                  <a:pt x="7524750" y="0"/>
                </a:lnTo>
                <a:lnTo>
                  <a:pt x="7524750" y="2486025"/>
                </a:lnTo>
                <a:lnTo>
                  <a:pt x="0" y="248602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918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F60A655-2714-4995-BF10-3F030657CC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76" y="422276"/>
            <a:ext cx="1889125" cy="2198687"/>
          </a:xfrm>
          <a:custGeom>
            <a:avLst/>
            <a:gdLst>
              <a:gd name="connsiteX0" fmla="*/ 0 w 1889125"/>
              <a:gd name="connsiteY0" fmla="*/ 0 h 2198687"/>
              <a:gd name="connsiteX1" fmla="*/ 1889125 w 1889125"/>
              <a:gd name="connsiteY1" fmla="*/ 887412 h 2198687"/>
              <a:gd name="connsiteX2" fmla="*/ 1889125 w 1889125"/>
              <a:gd name="connsiteY2" fmla="*/ 2198687 h 2198687"/>
              <a:gd name="connsiteX3" fmla="*/ 0 w 1889125"/>
              <a:gd name="connsiteY3" fmla="*/ 1312862 h 2198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89125" h="2198687">
                <a:moveTo>
                  <a:pt x="0" y="0"/>
                </a:moveTo>
                <a:lnTo>
                  <a:pt x="1889125" y="887412"/>
                </a:lnTo>
                <a:lnTo>
                  <a:pt x="1889125" y="2198687"/>
                </a:lnTo>
                <a:lnTo>
                  <a:pt x="0" y="1312862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D9A3A7A-F189-4DCB-A4BB-863821C86F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76" y="3022601"/>
            <a:ext cx="1889125" cy="2198687"/>
          </a:xfrm>
          <a:custGeom>
            <a:avLst/>
            <a:gdLst>
              <a:gd name="connsiteX0" fmla="*/ 0 w 1889125"/>
              <a:gd name="connsiteY0" fmla="*/ 0 h 2198687"/>
              <a:gd name="connsiteX1" fmla="*/ 1889125 w 1889125"/>
              <a:gd name="connsiteY1" fmla="*/ 887412 h 2198687"/>
              <a:gd name="connsiteX2" fmla="*/ 1889125 w 1889125"/>
              <a:gd name="connsiteY2" fmla="*/ 2198687 h 2198687"/>
              <a:gd name="connsiteX3" fmla="*/ 0 w 1889125"/>
              <a:gd name="connsiteY3" fmla="*/ 1312862 h 2198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89125" h="2198687">
                <a:moveTo>
                  <a:pt x="0" y="0"/>
                </a:moveTo>
                <a:lnTo>
                  <a:pt x="1889125" y="887412"/>
                </a:lnTo>
                <a:lnTo>
                  <a:pt x="1889125" y="2198687"/>
                </a:lnTo>
                <a:lnTo>
                  <a:pt x="0" y="1312862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53B91C2-4D28-4400-B26C-508710FF7A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15230" y="1064419"/>
            <a:ext cx="6149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8419944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A54A2025-3D44-43C7-A96A-A960E75AA2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809562"/>
            <a:ext cx="4323335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89C979A-0A40-4818-8242-27E5F1BC1E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2990850"/>
            <a:ext cx="3867150" cy="3867150"/>
          </a:xfrm>
          <a:custGeom>
            <a:avLst/>
            <a:gdLst>
              <a:gd name="connsiteX0" fmla="*/ 0 w 3867150"/>
              <a:gd name="connsiteY0" fmla="*/ 0 h 3867150"/>
              <a:gd name="connsiteX1" fmla="*/ 3867150 w 3867150"/>
              <a:gd name="connsiteY1" fmla="*/ 0 h 3867150"/>
              <a:gd name="connsiteX2" fmla="*/ 3867150 w 3867150"/>
              <a:gd name="connsiteY2" fmla="*/ 3867150 h 3867150"/>
              <a:gd name="connsiteX3" fmla="*/ 0 w 3867150"/>
              <a:gd name="connsiteY3" fmla="*/ 3867150 h 386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7150" h="3867150">
                <a:moveTo>
                  <a:pt x="0" y="0"/>
                </a:moveTo>
                <a:lnTo>
                  <a:pt x="3867150" y="0"/>
                </a:lnTo>
                <a:lnTo>
                  <a:pt x="3867150" y="3867150"/>
                </a:lnTo>
                <a:lnTo>
                  <a:pt x="0" y="386715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202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8E56A3EF-C520-4663-A63C-8C7EF390C1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3330" y="1469962"/>
            <a:ext cx="4323335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37A77591-2145-4DCD-8407-231CC2244E3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600200" y="609600"/>
            <a:ext cx="3987800" cy="6248400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6B9C766-0C54-4D36-87BC-2E4E384D7C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638" y="0"/>
            <a:ext cx="4493130" cy="6858000"/>
          </a:xfrm>
          <a:custGeom>
            <a:avLst/>
            <a:gdLst>
              <a:gd name="connsiteX0" fmla="*/ 0 w 4659542"/>
              <a:gd name="connsiteY0" fmla="*/ 0 h 7112000"/>
              <a:gd name="connsiteX1" fmla="*/ 4659542 w 4659542"/>
              <a:gd name="connsiteY1" fmla="*/ 0 h 7112000"/>
              <a:gd name="connsiteX2" fmla="*/ 3065096 w 4659542"/>
              <a:gd name="connsiteY2" fmla="*/ 7112000 h 7112000"/>
              <a:gd name="connsiteX3" fmla="*/ 0 w 4659542"/>
              <a:gd name="connsiteY3" fmla="*/ 7112000 h 71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9542" h="7112000">
                <a:moveTo>
                  <a:pt x="0" y="0"/>
                </a:moveTo>
                <a:lnTo>
                  <a:pt x="4659542" y="0"/>
                </a:lnTo>
                <a:lnTo>
                  <a:pt x="3065096" y="7112000"/>
                </a:lnTo>
                <a:lnTo>
                  <a:pt x="0" y="7112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C34720-D8AF-48BB-A883-6CDAE8C75FB9}"/>
              </a:ext>
            </a:extLst>
          </p:cNvPr>
          <p:cNvSpPr txBox="1"/>
          <p:nvPr userDrawn="1"/>
        </p:nvSpPr>
        <p:spPr>
          <a:xfrm rot="16200000">
            <a:off x="8355974" y="2705725"/>
            <a:ext cx="7112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b="1" dirty="0">
                <a:solidFill>
                  <a:schemeClr val="tx1">
                    <a:alpha val="8000"/>
                  </a:schemeClr>
                </a:solidFill>
                <a:latin typeface="+mj-lt"/>
              </a:rPr>
              <a:t>Welcome</a:t>
            </a:r>
          </a:p>
        </p:txBody>
      </p:sp>
    </p:spTree>
    <p:extLst>
      <p:ext uri="{BB962C8B-B14F-4D97-AF65-F5344CB8AC3E}">
        <p14:creationId xmlns:p14="http://schemas.microsoft.com/office/powerpoint/2010/main" val="31442301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7FEB725-AEC7-4A4C-9E37-74D931CDAC6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AFB813E2-A5A3-4B84-AF5B-3D5BC4573D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413000" y="0"/>
            <a:ext cx="4826001" cy="6858000"/>
          </a:xfrm>
          <a:custGeom>
            <a:avLst/>
            <a:gdLst>
              <a:gd name="connsiteX0" fmla="*/ 0 w 4826001"/>
              <a:gd name="connsiteY0" fmla="*/ 0 h 6858000"/>
              <a:gd name="connsiteX1" fmla="*/ 4826001 w 4826001"/>
              <a:gd name="connsiteY1" fmla="*/ 0 h 6858000"/>
              <a:gd name="connsiteX2" fmla="*/ 4826001 w 4826001"/>
              <a:gd name="connsiteY2" fmla="*/ 6858000 h 6858000"/>
              <a:gd name="connsiteX3" fmla="*/ 0 w 482600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26001" h="6858000">
                <a:moveTo>
                  <a:pt x="0" y="0"/>
                </a:moveTo>
                <a:lnTo>
                  <a:pt x="4826001" y="0"/>
                </a:lnTo>
                <a:lnTo>
                  <a:pt x="482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8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ACA3098-FBB3-41AB-9512-292EC32BFB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39001" y="549275"/>
            <a:ext cx="4365625" cy="5759450"/>
          </a:xfrm>
          <a:custGeom>
            <a:avLst/>
            <a:gdLst>
              <a:gd name="connsiteX0" fmla="*/ 0 w 4365625"/>
              <a:gd name="connsiteY0" fmla="*/ 0 h 5759450"/>
              <a:gd name="connsiteX1" fmla="*/ 4365625 w 4365625"/>
              <a:gd name="connsiteY1" fmla="*/ 0 h 5759450"/>
              <a:gd name="connsiteX2" fmla="*/ 4365625 w 4365625"/>
              <a:gd name="connsiteY2" fmla="*/ 5759450 h 5759450"/>
              <a:gd name="connsiteX3" fmla="*/ 0 w 4365625"/>
              <a:gd name="connsiteY3" fmla="*/ 5759450 h 575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5625" h="5759450">
                <a:moveTo>
                  <a:pt x="0" y="0"/>
                </a:moveTo>
                <a:lnTo>
                  <a:pt x="4365625" y="0"/>
                </a:lnTo>
                <a:lnTo>
                  <a:pt x="4365625" y="5759450"/>
                </a:lnTo>
                <a:lnTo>
                  <a:pt x="0" y="575945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D5A253-6454-4099-A572-558E89FF00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44265" y="1050862"/>
            <a:ext cx="368516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822098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24841DD-1AEE-43FD-9145-8505D98C1EE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9" y="3952876"/>
            <a:ext cx="6632575" cy="2905125"/>
          </a:xfrm>
          <a:custGeom>
            <a:avLst/>
            <a:gdLst>
              <a:gd name="connsiteX0" fmla="*/ 1566863 w 6632575"/>
              <a:gd name="connsiteY0" fmla="*/ 0 h 2905125"/>
              <a:gd name="connsiteX1" fmla="*/ 6632575 w 6632575"/>
              <a:gd name="connsiteY1" fmla="*/ 2905125 h 2905125"/>
              <a:gd name="connsiteX2" fmla="*/ 0 w 6632575"/>
              <a:gd name="connsiteY2" fmla="*/ 2905125 h 2905125"/>
              <a:gd name="connsiteX3" fmla="*/ 0 w 6632575"/>
              <a:gd name="connsiteY3" fmla="*/ 892175 h 290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2575" h="2905125">
                <a:moveTo>
                  <a:pt x="1566863" y="0"/>
                </a:moveTo>
                <a:lnTo>
                  <a:pt x="6632575" y="2905125"/>
                </a:lnTo>
                <a:lnTo>
                  <a:pt x="0" y="2905125"/>
                </a:lnTo>
                <a:lnTo>
                  <a:pt x="0" y="89217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0202F44-A8E2-4C8C-B2EB-3F50C6E04A6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63000" y="3175"/>
            <a:ext cx="3429000" cy="1498600"/>
          </a:xfrm>
          <a:custGeom>
            <a:avLst/>
            <a:gdLst>
              <a:gd name="connsiteX0" fmla="*/ 0 w 3429000"/>
              <a:gd name="connsiteY0" fmla="*/ 0 h 1498600"/>
              <a:gd name="connsiteX1" fmla="*/ 3429000 w 3429000"/>
              <a:gd name="connsiteY1" fmla="*/ 0 h 1498600"/>
              <a:gd name="connsiteX2" fmla="*/ 3429000 w 3429000"/>
              <a:gd name="connsiteY2" fmla="*/ 1039813 h 1498600"/>
              <a:gd name="connsiteX3" fmla="*/ 2617788 w 3429000"/>
              <a:gd name="connsiteY3" fmla="*/ 1498600 h 149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1498600">
                <a:moveTo>
                  <a:pt x="0" y="0"/>
                </a:moveTo>
                <a:lnTo>
                  <a:pt x="3429000" y="0"/>
                </a:lnTo>
                <a:lnTo>
                  <a:pt x="3429000" y="1039813"/>
                </a:lnTo>
                <a:lnTo>
                  <a:pt x="2617788" y="14986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pic>
        <p:nvPicPr>
          <p:cNvPr id="4" name="رسم 4">
            <a:extLst>
              <a:ext uri="{FF2B5EF4-FFF2-40B4-BE49-F238E27FC236}">
                <a16:creationId xmlns:a16="http://schemas.microsoft.com/office/drawing/2014/main" id="{2648ED85-B652-4FFE-9D29-BBD6A6B5EF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07998" y="136365"/>
            <a:ext cx="594006" cy="47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0380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0C32B0-4F67-4973-8E21-5ADC03DD46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7999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802647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0C32B0-4F67-4973-8E21-5ADC03DD46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7999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ID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576902C-C7A0-4619-B16E-1FB33BDCF9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48265" y="2514599"/>
            <a:ext cx="5895470" cy="9144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pic>
        <p:nvPicPr>
          <p:cNvPr id="6" name="رسم 4">
            <a:extLst>
              <a:ext uri="{FF2B5EF4-FFF2-40B4-BE49-F238E27FC236}">
                <a16:creationId xmlns:a16="http://schemas.microsoft.com/office/drawing/2014/main" id="{2648ED85-B652-4FFE-9D29-BBD6A6B5EF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07998" y="136365"/>
            <a:ext cx="594006" cy="47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162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48095486-1635-47B2-AA4C-6CF00D48A6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59401" y="847472"/>
            <a:ext cx="5542196" cy="5163056"/>
          </a:xfrm>
          <a:solidFill>
            <a:schemeClr val="bg2">
              <a:lumMod val="95000"/>
            </a:schemeClr>
          </a:solidFill>
          <a:ln>
            <a:noFill/>
          </a:ln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9707168-73C7-46C9-8C70-1F77CF8219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809562"/>
            <a:ext cx="5895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6369013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E1CD0F0-C157-4A74-85C5-3764950204CE}"/>
              </a:ext>
            </a:extLst>
          </p:cNvPr>
          <p:cNvSpPr/>
          <p:nvPr userDrawn="1"/>
        </p:nvSpPr>
        <p:spPr>
          <a:xfrm>
            <a:off x="3628" y="938953"/>
            <a:ext cx="12191999" cy="704659"/>
          </a:xfrm>
          <a:prstGeom prst="rect">
            <a:avLst/>
          </a:prstGeom>
          <a:solidFill>
            <a:srgbClr val="B68A35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F457DA5-8BD8-4BD1-ABAC-1702790078A5}"/>
              </a:ext>
            </a:extLst>
          </p:cNvPr>
          <p:cNvGrpSpPr/>
          <p:nvPr userDrawn="1"/>
        </p:nvGrpSpPr>
        <p:grpSpPr>
          <a:xfrm>
            <a:off x="11126530" y="59960"/>
            <a:ext cx="983575" cy="1226175"/>
            <a:chOff x="8411919" y="701065"/>
            <a:chExt cx="2800065" cy="3490702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5DD6D29-DDE2-45C1-A138-CADB303F7C9F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FDC7CD9-2180-42AE-8704-20DBF67B10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D0A05A7-05C3-49E0-9D7D-F545E41AF2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7A9F57B-F0AC-4B12-9AF5-A2D627622BC2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285139-F2C4-446A-B33F-24C8A0E0D2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D5932DE-97EB-4356-AB7E-C15C95618C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C91D568-C449-4AA9-82B1-5329497816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58F475E-0095-4F26-BB26-022930977535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5EFA47E-8BD9-48B8-8713-E45FE90BC0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56E6CA7-B7F3-4621-A76D-BA617AA32ED8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74EE110-4344-4F52-A647-018872E82CB7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8D380D3-EEA7-40C1-B43D-07CD1E39FD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8724384-2A2C-43ED-8941-9540034BD8C4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F0ACFEA-6181-41EB-8BED-A51527F7C0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11BAF15-78AF-4795-B4FC-753D1EF9E0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050C95F-629C-490C-8BAC-78DABCD855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5A19A85-9EC7-455C-8DD6-187CB92EDEE4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A7240E26-80CD-41EC-B8BB-D59466F37C2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ADC3978A-C5FA-42C9-8D7B-F6438BA6096E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4388F42-C696-4539-BD00-F21F87F844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148E84D-1A6D-4271-8A0A-660F1B15D1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2B5DA5F-B400-4F36-B83F-421F789314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44EE669-9E4C-4CA7-A3A7-33BC296CAA71}"/>
              </a:ext>
            </a:extLst>
          </p:cNvPr>
          <p:cNvGrpSpPr/>
          <p:nvPr userDrawn="1"/>
        </p:nvGrpSpPr>
        <p:grpSpPr>
          <a:xfrm rot="15730005">
            <a:off x="10036530" y="262594"/>
            <a:ext cx="983575" cy="1226175"/>
            <a:chOff x="8411919" y="701065"/>
            <a:chExt cx="2800065" cy="3490702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EC4FCD0-D80E-4BDE-A5CD-8F0BC7673FD2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CA6BF7A-2F64-4D37-A80A-A731FAAE69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7D40FFE-6973-4966-BE8A-2C8BFC6DED2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78D0628B-4C25-405C-B92F-967A2F552D5E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555B7347-0448-457F-8A6E-209E78A221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1F3020F-2980-43D8-A6E1-A1C268398A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62F092F-EF39-4548-B871-05F5F502CC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C36979FA-828A-48D4-9C8B-6F50EEDAC5A3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50A29C4-0BDC-4C57-A752-FBD4848DD6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195D661-139C-43DA-B191-64D4E3EB6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A0B6320-BEEA-4ED4-886F-54835A7A8DCB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5F0C052C-0C49-45D2-95B4-EB71C53035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8C62899-030E-4CD7-8551-E8FB609D8372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753D3BE-5268-47BB-88DC-D80B006144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E2C63B3-FEBC-4E81-A83F-442EFD970C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09839260-DA6B-4278-8342-339E9D7EEA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A9196E6-7FB0-4C52-A592-204D37882FDF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4F56BBE9-7A54-44FD-8960-0A51776C14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7F9F36F4-C91F-4046-832E-002EF0AE5503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A7280801-44E2-40E6-9915-0A3ADC2636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43EA181D-8A90-4729-8E01-BAB32AE981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9547D6E-9ECC-481E-83BB-010BB8DA42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17AD10F-453A-4E8D-AD1B-4B24EAEAFAD1}"/>
              </a:ext>
            </a:extLst>
          </p:cNvPr>
          <p:cNvGrpSpPr/>
          <p:nvPr userDrawn="1"/>
        </p:nvGrpSpPr>
        <p:grpSpPr>
          <a:xfrm rot="6889181">
            <a:off x="10412956" y="1601928"/>
            <a:ext cx="796471" cy="992922"/>
            <a:chOff x="8411919" y="701065"/>
            <a:chExt cx="2800065" cy="3490702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FDD64DF2-DC03-4DA2-8ECD-92414187EC81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6570102-6A32-4B3B-906D-BD8943799E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CC6062CC-F21A-41D5-B8B5-545A842812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CB52F408-DC70-476B-A49E-0EC9DCC8A68E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A5B904B-857F-43D9-88E8-9889A777C5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EBCEDAA-E03D-4863-BBCD-A3499AB578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D4D46D37-1080-4754-9469-9332FD8D44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525EE8BE-F561-4363-B07C-2A8568C849D8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CDEA6CE-6883-439C-90F3-B682651821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C39EBADE-0038-4448-AE69-7A30F68146A9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DC478AC4-0F9A-4B28-B8AE-A5C3FC191FD9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64C4057-53E5-4332-A8BC-0476466B17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F6E5EB65-4860-47A3-A636-1D5B4086EBE5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8726D1F-8E94-41C4-91B4-FE73F6CA4A2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C5EE4BC-D4F2-4506-A3BC-1F49233209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FA371812-5AE7-41A7-8354-03341B0DD5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3B530347-4200-441B-ABAD-B145DCE83342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DE61C81E-2924-483B-81DE-205FCB7A445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D324DC81-1E85-4D25-9885-81ACFF8EF9CE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F3CC859-CABB-414D-A81B-30AF7FDC40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C5B7264-49F4-4210-9CA1-CF355D0959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4FED197B-9A2F-4634-9DE3-0062A5B452D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A6F875E-26AF-47EC-80DA-4A202F58A299}"/>
              </a:ext>
            </a:extLst>
          </p:cNvPr>
          <p:cNvGrpSpPr/>
          <p:nvPr userDrawn="1"/>
        </p:nvGrpSpPr>
        <p:grpSpPr>
          <a:xfrm rot="20334324">
            <a:off x="11027040" y="751132"/>
            <a:ext cx="1164960" cy="1452298"/>
            <a:chOff x="8411919" y="701065"/>
            <a:chExt cx="2800065" cy="3490702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677BA5B5-C758-4877-800C-0C7E4D9CEBE4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A83A37C0-EC73-49DF-8FB5-5ECE4448FD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1BA5729-6339-4F12-87C6-59FE607335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12BFEE7-A77F-4E6A-9E50-307AEE0A93E3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F402FDBD-1882-4637-A220-48C025A195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1BB18570-115A-4B82-B5E8-DEFEE35E3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B3A398FB-C068-4429-A23D-89DBCBB6FF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2B571856-F9E7-4ED8-B06C-57DFF6B9CC0F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FA8CAEB4-E5DC-46B5-B31F-0CEF968450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C1937CDF-54A0-4EB9-87AA-3A6F53380AA3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EEC0EDC4-79A2-48AC-9C2F-EC89AA5AF409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2C7274A9-AD57-4BC8-9D3E-4444CD75C0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BCE58877-41A8-426A-A97C-C7E929F3EBE6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6DEBC82F-0A62-4539-9DAC-1F7078C43F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A5A7A4C-C4AC-4031-8AE8-3C1D0B91DF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73F73277-134F-4896-A41B-6121A44641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284486BE-FF72-4400-AED7-FC2F51FF896E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07E4E1DC-4629-41E4-881E-039F4A4E34F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EBF3104-364F-4626-A5B8-05B4D1ADCA6A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8EA45D2F-F00F-4129-99E1-0B7C1B4A45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96CA710A-0CE7-4CEF-B09B-27A332D9594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FCF51995-51FB-475E-94CD-AEE40B2178E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B0D5CCF4-AEE8-4235-B77C-72150C7B86A8}"/>
              </a:ext>
            </a:extLst>
          </p:cNvPr>
          <p:cNvGrpSpPr/>
          <p:nvPr userDrawn="1"/>
        </p:nvGrpSpPr>
        <p:grpSpPr>
          <a:xfrm rot="20334324">
            <a:off x="9037156" y="71664"/>
            <a:ext cx="753407" cy="737354"/>
            <a:chOff x="8411919" y="701065"/>
            <a:chExt cx="2800065" cy="3490702"/>
          </a:xfrm>
        </p:grpSpPr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6666712C-D9DC-4E1B-B224-EE2C1109D35C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63352840-ABD4-47EF-ADD9-AA88424C91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9F6F136-D82F-4732-9A09-51877B3006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357C639-5D19-43DF-9527-8D32F5DC8C97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69BA665B-04B0-4300-9EB4-1CFFE3ED45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EF1951ED-ABFB-4722-9F63-B0B27E2C29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364E12DE-0E57-4B8F-A49C-688E0958E9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E4BC377-B444-49A0-A473-E947787673A9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B6B46601-4F83-4893-8A97-6736B822C1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67EEF4EC-D9C6-4972-9B35-88DF77520A96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E2B4C8D5-FD70-44AE-8137-B0A8F4ACCEA6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EE403C5D-66B6-4B98-9623-F82EEB8A97A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521883D-899C-437B-9424-C11E887F4C76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11EE4CB0-E6F1-4616-8CFD-ABC0841896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FD622344-682A-45AB-BDAC-D83955B30D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E3F36C3A-AAA2-43EC-A1CA-D5CCDC6E35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AD7E67AE-8D68-43B6-A73E-4A33D1A25236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A0A232-916A-46A2-A7C1-987C261630A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978AD056-AB72-4926-86BA-E77C4E1712FA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7189B293-9518-480B-92F2-B3FD6AE4D6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39E57236-C826-4A70-BF3F-87A183C24D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28F2DAEF-A763-4480-9B9B-5510A70DD6B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74C772B-1928-4597-8A34-F77909439262}"/>
              </a:ext>
            </a:extLst>
          </p:cNvPr>
          <p:cNvGrpSpPr/>
          <p:nvPr userDrawn="1"/>
        </p:nvGrpSpPr>
        <p:grpSpPr>
          <a:xfrm rot="19421998">
            <a:off x="9748081" y="1384230"/>
            <a:ext cx="717208" cy="701926"/>
            <a:chOff x="8411919" y="701065"/>
            <a:chExt cx="2800065" cy="3490702"/>
          </a:xfrm>
        </p:grpSpPr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7089472D-6102-4681-8E55-2C5794EE4E05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45D7A623-A535-43CF-9E20-EB48163EBA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84DDAD5E-B095-422F-B6CD-672CE6F954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68204260-9189-46EB-869A-E95AE4088988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5B13CB03-7EDD-43E9-A3EE-08A70D250D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424ACA07-2AC8-4301-AF7A-F872F5BCBF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E9DDC0C-BE86-40AC-BA9D-02E3CE7A15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04D754C4-75A5-4238-AA8C-BB7B243E7233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1819C5E5-16FB-4BD7-ABFF-2AFB5E55E99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4C7A9859-4815-4EA4-8F65-F968C9FC849F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57B13CD7-AC6F-456F-9E2D-A202EA93C04D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F2B697B7-B1AF-408B-A9B5-014F75EB3E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AFF57946-E60E-4726-9F65-63637C96D9AC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7CB79018-A974-42C3-9327-9EE494BBBC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A027431D-F6A9-4475-92D1-2C456BFCEC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B510266C-E548-470A-8A98-08A02F3E2E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37175B15-68E2-4A5E-9813-8991CCF80A48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A100DAD-AFB1-40DB-ADE7-B83F5DD8967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620490C3-05EB-4F8F-B133-39AC8E8CA87F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B64D449B-2D2F-4B3F-8257-1F8D0DD919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C287B58-6106-4047-BAA2-C3406DDB25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9B63D3A8-33D6-4BC7-8CC9-857AAE669D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17F06A6F-6318-483E-B452-C88B27C43350}"/>
              </a:ext>
            </a:extLst>
          </p:cNvPr>
          <p:cNvGrpSpPr/>
          <p:nvPr userDrawn="1"/>
        </p:nvGrpSpPr>
        <p:grpSpPr>
          <a:xfrm rot="19421998">
            <a:off x="9244413" y="1325575"/>
            <a:ext cx="458379" cy="448611"/>
            <a:chOff x="8411919" y="701065"/>
            <a:chExt cx="2800065" cy="3490702"/>
          </a:xfrm>
        </p:grpSpPr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E91CD7AF-1692-4440-B8BA-E670A60CBCCA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1356FF31-B953-4F4E-B596-E60EA148FE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C49752A-D43C-45B6-993D-EA5E0844C9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B753FBDD-B18B-409C-A47A-F97D2E3F5EF6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61749067-1D7E-4678-B43D-843D42744B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BB90CE84-57B1-4386-B44F-156E4FFC61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15B6C08B-4B3D-4F15-9BA5-AB40A1E1F85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BC1DF333-9292-43D8-96FF-D38D03FC80C0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DC4CB3EA-34E0-4265-818A-640BBCAED2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885D7418-DA23-4D62-ADDA-A33D8629D46F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7DA01C98-3668-44DC-BD8A-21C1F9B9CC2B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77874D64-B6D5-4B26-9D31-C32312A1FDF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67A0BDD8-5F2F-4871-AC80-15065F48B7B4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774FF47B-975B-495B-AFA7-626EA3CB0B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9979DDAC-383E-484D-AD43-6040954E5D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5E20253B-FE44-45FD-9073-793A2ACD30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4A967840-EB8D-4A8D-9023-BA05C472301C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5BFA0587-ECDE-4476-B6DA-8C1636CCCB8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9332D652-2851-49FA-9380-17419EF0B2EB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0AB93698-E5DF-418F-84ED-95993EFBD6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7253BEA4-85D6-4559-8CD4-CD651FA044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33186F57-FF32-469C-8E8F-0D5A121C0D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39A1B71-4BFB-417F-8ADF-A50673257A72}"/>
              </a:ext>
            </a:extLst>
          </p:cNvPr>
          <p:cNvGrpSpPr/>
          <p:nvPr userDrawn="1"/>
        </p:nvGrpSpPr>
        <p:grpSpPr>
          <a:xfrm rot="19421998">
            <a:off x="10765083" y="43767"/>
            <a:ext cx="412730" cy="403935"/>
            <a:chOff x="8411919" y="701065"/>
            <a:chExt cx="2800065" cy="3490702"/>
          </a:xfrm>
        </p:grpSpPr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F5970A27-55A6-4D07-8C70-C55D06337EBD}"/>
                </a:ext>
              </a:extLst>
            </p:cNvPr>
            <p:cNvCxnSpPr/>
            <p:nvPr/>
          </p:nvCxnSpPr>
          <p:spPr>
            <a:xfrm>
              <a:off x="9105681" y="1504009"/>
              <a:ext cx="914400" cy="9144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E83ABF58-61A0-409C-A57E-EA1E39EFB7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2418409"/>
              <a:ext cx="1596788" cy="1910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A072E919-222D-4E11-9FBF-4092D8A0EAF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3" y="1504009"/>
              <a:ext cx="682388" cy="110546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669C07E-C483-453C-AAEC-C3FBEDB040FD}"/>
                </a:ext>
              </a:extLst>
            </p:cNvPr>
            <p:cNvCxnSpPr>
              <a:cxnSpLocks/>
            </p:cNvCxnSpPr>
            <p:nvPr/>
          </p:nvCxnSpPr>
          <p:spPr>
            <a:xfrm>
              <a:off x="10702469" y="701066"/>
              <a:ext cx="509515" cy="126014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344DE8EA-742F-48A6-BEBC-F6781301EDE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701065"/>
              <a:ext cx="682388" cy="171734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16CB3F9E-2089-4472-92AB-7C98031C05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05681" y="701067"/>
              <a:ext cx="1596788" cy="8029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70B846A2-CA79-4A17-A686-E022D57453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4487" y="2415851"/>
              <a:ext cx="1255594" cy="119503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719E7FB7-9E8D-44B6-8718-865071D50168}"/>
                </a:ext>
              </a:extLst>
            </p:cNvPr>
            <p:cNvCxnSpPr>
              <a:cxnSpLocks/>
            </p:cNvCxnSpPr>
            <p:nvPr/>
          </p:nvCxnSpPr>
          <p:spPr>
            <a:xfrm>
              <a:off x="8423293" y="2609478"/>
              <a:ext cx="341194" cy="100140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1D0C8432-AFF4-4746-83E6-40A3AD7EBA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2415851"/>
              <a:ext cx="0" cy="177591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E4C7F024-C3FD-44DA-B543-9D4C33842F03}"/>
                </a:ext>
              </a:extLst>
            </p:cNvPr>
            <p:cNvCxnSpPr>
              <a:cxnSpLocks/>
            </p:cNvCxnSpPr>
            <p:nvPr/>
          </p:nvCxnSpPr>
          <p:spPr>
            <a:xfrm>
              <a:off x="10020081" y="2418409"/>
              <a:ext cx="1026994" cy="7403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11DFA92C-51B2-4F6C-AE96-147198D89D7A}"/>
                </a:ext>
              </a:extLst>
            </p:cNvPr>
            <p:cNvCxnSpPr>
              <a:cxnSpLocks/>
            </p:cNvCxnSpPr>
            <p:nvPr/>
          </p:nvCxnSpPr>
          <p:spPr>
            <a:xfrm>
              <a:off x="9111368" y="1501451"/>
              <a:ext cx="792707" cy="1535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1F9FB3DC-4DAF-4AAE-9F4C-EFB7B0B94E6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04075" y="701065"/>
              <a:ext cx="798394" cy="81517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9FEA2574-D8E8-4BE5-9DEF-F08B7AF24CBB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3610883"/>
              <a:ext cx="1249907" cy="58088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DC142A40-9738-4197-9048-6E3CE28229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4394" y="3158800"/>
              <a:ext cx="1032681" cy="10329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DA05D9C8-371D-4CB4-967D-A728CB6DE2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20081" y="1961209"/>
              <a:ext cx="1191903" cy="45464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9EB1DF40-1EA3-479A-8E44-C460A09111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052762" y="1961209"/>
              <a:ext cx="159222" cy="119759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9194C8E4-D8F1-4623-8319-FC3C7547D1E9}"/>
                </a:ext>
              </a:extLst>
            </p:cNvPr>
            <p:cNvCxnSpPr>
              <a:cxnSpLocks/>
            </p:cNvCxnSpPr>
            <p:nvPr/>
          </p:nvCxnSpPr>
          <p:spPr>
            <a:xfrm>
              <a:off x="9904075" y="1501451"/>
              <a:ext cx="116006" cy="91440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C2521ABC-062E-4457-999D-4BC3DE953E8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7606" y="3605125"/>
              <a:ext cx="343470" cy="320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994EDE13-F833-42D7-A127-BB45FBFCB58B}"/>
                </a:ext>
              </a:extLst>
            </p:cNvPr>
            <p:cNvCxnSpPr>
              <a:cxnSpLocks/>
            </p:cNvCxnSpPr>
            <p:nvPr/>
          </p:nvCxnSpPr>
          <p:spPr>
            <a:xfrm>
              <a:off x="8764487" y="1040840"/>
              <a:ext cx="346881" cy="47539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76DD19A0-42AC-4680-A070-B7D26A7ECB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23292" y="1040840"/>
              <a:ext cx="329821" cy="15686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4823B065-A184-4DE8-A2E9-BD9454771D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61075" y="734546"/>
              <a:ext cx="1941393" cy="32193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06A0FAEF-9B32-47C8-BD6B-48A2993CE3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1919" y="2609478"/>
              <a:ext cx="11374" cy="99564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2" name="Rectangle 191">
            <a:extLst>
              <a:ext uri="{FF2B5EF4-FFF2-40B4-BE49-F238E27FC236}">
                <a16:creationId xmlns:a16="http://schemas.microsoft.com/office/drawing/2014/main" id="{6C54488B-4AA8-4A29-9071-60D6AF00DA6E}"/>
              </a:ext>
            </a:extLst>
          </p:cNvPr>
          <p:cNvSpPr/>
          <p:nvPr userDrawn="1"/>
        </p:nvSpPr>
        <p:spPr>
          <a:xfrm>
            <a:off x="11445923" y="0"/>
            <a:ext cx="373038" cy="2194560"/>
          </a:xfrm>
          <a:prstGeom prst="rect">
            <a:avLst/>
          </a:prstGeom>
          <a:solidFill>
            <a:srgbClr val="B68A3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6AA5F804-B564-42DA-88D6-915FE7EFD1E7}"/>
              </a:ext>
            </a:extLst>
          </p:cNvPr>
          <p:cNvSpPr/>
          <p:nvPr userDrawn="1"/>
        </p:nvSpPr>
        <p:spPr>
          <a:xfrm>
            <a:off x="11818961" y="0"/>
            <a:ext cx="373038" cy="2377440"/>
          </a:xfrm>
          <a:prstGeom prst="rect">
            <a:avLst/>
          </a:prstGeom>
          <a:solidFill>
            <a:srgbClr val="B68A35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52761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61DBA9-CF79-4252-8990-5ADB48FA30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79178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E16E2D1-23A1-4368-96FF-48F963C7CA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13599" y="1263587"/>
            <a:ext cx="4360659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75573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8792184-4904-4DE8-8F9C-5A9A7C8BFE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809562"/>
            <a:ext cx="5895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0240292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6E1549A-795A-4F24-AB2E-EEA8D12AC1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1"/>
            <a:ext cx="1714203" cy="6858000"/>
          </a:xfrm>
          <a:custGeom>
            <a:avLst/>
            <a:gdLst>
              <a:gd name="connsiteX0" fmla="*/ 0 w 1714203"/>
              <a:gd name="connsiteY0" fmla="*/ 0 h 6858000"/>
              <a:gd name="connsiteX1" fmla="*/ 1714203 w 1714203"/>
              <a:gd name="connsiteY1" fmla="*/ 0 h 6858000"/>
              <a:gd name="connsiteX2" fmla="*/ 981314 w 1714203"/>
              <a:gd name="connsiteY2" fmla="*/ 2428136 h 6858000"/>
              <a:gd name="connsiteX3" fmla="*/ 1453124 w 1714203"/>
              <a:gd name="connsiteY3" fmla="*/ 6858000 h 6858000"/>
              <a:gd name="connsiteX4" fmla="*/ 0 w 171420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4203" h="6858000">
                <a:moveTo>
                  <a:pt x="0" y="0"/>
                </a:moveTo>
                <a:lnTo>
                  <a:pt x="1714203" y="0"/>
                </a:lnTo>
                <a:lnTo>
                  <a:pt x="981314" y="2428136"/>
                </a:lnTo>
                <a:lnTo>
                  <a:pt x="145312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4A61C76-F02F-4F86-B1A3-04F52EA5E7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24058" y="1219199"/>
            <a:ext cx="4674456" cy="1857829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920455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D625957-189C-44E3-89AC-9403F8421C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63763" y="1371600"/>
            <a:ext cx="2667000" cy="3802063"/>
          </a:xfrm>
          <a:prstGeom prst="roundRect">
            <a:avLst>
              <a:gd name="adj" fmla="val 381"/>
            </a:avLst>
          </a:prstGeo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89D06D76-B234-4529-B352-5993F0CE6E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60295" y="1371600"/>
            <a:ext cx="5006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954396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6B35A6-705D-4E54-92DF-FF2AAD0E71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09924" y="4763"/>
            <a:ext cx="5682076" cy="6858675"/>
          </a:xfrm>
          <a:custGeom>
            <a:avLst/>
            <a:gdLst>
              <a:gd name="connsiteX0" fmla="*/ 2177995 w 5682076"/>
              <a:gd name="connsiteY0" fmla="*/ 0 h 6858675"/>
              <a:gd name="connsiteX1" fmla="*/ 5682076 w 5682076"/>
              <a:gd name="connsiteY1" fmla="*/ 0 h 6858675"/>
              <a:gd name="connsiteX2" fmla="*/ 5682076 w 5682076"/>
              <a:gd name="connsiteY2" fmla="*/ 6858675 h 6858675"/>
              <a:gd name="connsiteX3" fmla="*/ 2113700 w 5682076"/>
              <a:gd name="connsiteY3" fmla="*/ 6858675 h 6858675"/>
              <a:gd name="connsiteX4" fmla="*/ 2366058 w 5682076"/>
              <a:gd name="connsiteY4" fmla="*/ 6333063 h 6858675"/>
              <a:gd name="connsiteX5" fmla="*/ 0 w 5682076"/>
              <a:gd name="connsiteY5" fmla="*/ 4568164 h 685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82076" h="6858675">
                <a:moveTo>
                  <a:pt x="2177995" y="0"/>
                </a:moveTo>
                <a:lnTo>
                  <a:pt x="5682076" y="0"/>
                </a:lnTo>
                <a:lnTo>
                  <a:pt x="5682076" y="6858675"/>
                </a:lnTo>
                <a:lnTo>
                  <a:pt x="2113700" y="6858675"/>
                </a:lnTo>
                <a:lnTo>
                  <a:pt x="2366058" y="6333063"/>
                </a:lnTo>
                <a:lnTo>
                  <a:pt x="0" y="456816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AC0E8A7-BAEA-4CC7-8CE9-AD0B682686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9030" y="1203262"/>
            <a:ext cx="58954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435071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2D5BA3-A79A-4E1E-A676-6FB8D8F4DC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63" y="4763"/>
            <a:ext cx="9444037" cy="4608690"/>
          </a:xfrm>
          <a:custGeom>
            <a:avLst/>
            <a:gdLst>
              <a:gd name="connsiteX0" fmla="*/ 0 w 9444037"/>
              <a:gd name="connsiteY0" fmla="*/ 0 h 4608690"/>
              <a:gd name="connsiteX1" fmla="*/ 9444037 w 9444037"/>
              <a:gd name="connsiteY1" fmla="*/ 0 h 4608690"/>
              <a:gd name="connsiteX2" fmla="*/ 5661600 w 9444037"/>
              <a:gd name="connsiteY2" fmla="*/ 1847013 h 4608690"/>
              <a:gd name="connsiteX3" fmla="*/ 0 w 9444037"/>
              <a:gd name="connsiteY3" fmla="*/ 4608690 h 4608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44037" h="4608690">
                <a:moveTo>
                  <a:pt x="0" y="0"/>
                </a:moveTo>
                <a:lnTo>
                  <a:pt x="9444037" y="0"/>
                </a:lnTo>
                <a:lnTo>
                  <a:pt x="5661600" y="1847013"/>
                </a:lnTo>
                <a:lnTo>
                  <a:pt x="0" y="460869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8745BAEF-8E9A-4CAB-A092-056C43B21C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61030" y="4048062"/>
            <a:ext cx="4968370" cy="9144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4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853369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26" Type="http://schemas.openxmlformats.org/officeDocument/2006/relationships/slideLayout" Target="../slideLayouts/slideLayout26.xml" /><Relationship Id="rId3" Type="http://schemas.openxmlformats.org/officeDocument/2006/relationships/slideLayout" Target="../slideLayouts/slideLayout3.xml" /><Relationship Id="rId21" Type="http://schemas.openxmlformats.org/officeDocument/2006/relationships/slideLayout" Target="../slideLayouts/slideLayout21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5" Type="http://schemas.openxmlformats.org/officeDocument/2006/relationships/slideLayout" Target="../slideLayouts/slideLayout25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slideLayout" Target="../slideLayouts/slideLayout20.xml" /><Relationship Id="rId29" Type="http://schemas.openxmlformats.org/officeDocument/2006/relationships/slideLayout" Target="../slideLayouts/slideLayout29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24" Type="http://schemas.openxmlformats.org/officeDocument/2006/relationships/slideLayout" Target="../slideLayouts/slideLayout24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23" Type="http://schemas.openxmlformats.org/officeDocument/2006/relationships/slideLayout" Target="../slideLayouts/slideLayout23.xml" /><Relationship Id="rId28" Type="http://schemas.openxmlformats.org/officeDocument/2006/relationships/slideLayout" Target="../slideLayouts/slideLayout28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31" Type="http://schemas.openxmlformats.org/officeDocument/2006/relationships/theme" Target="../theme/theme1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slideLayout" Target="../slideLayouts/slideLayout22.xml" /><Relationship Id="rId27" Type="http://schemas.openxmlformats.org/officeDocument/2006/relationships/slideLayout" Target="../slideLayouts/slideLayout27.xml" /><Relationship Id="rId30" Type="http://schemas.openxmlformats.org/officeDocument/2006/relationships/slideLayout" Target="../slideLayouts/slideLayout30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D4C1B8-6D16-4015-A0E8-E4633BBC0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507BE7-B79B-4F9F-9C14-5E9B7935E3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FCC5D0-C112-4903-BB22-33DF07A652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504E04-441F-4771-B6EF-86C7565F3C45}" type="datetimeFigureOut">
              <a:rPr lang="en-ID" smtClean="0"/>
              <a:pPr/>
              <a:t>08/04/2021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8D3A4-9B09-47C6-91F8-A02BF936DF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6AD10A-EAF6-42AC-B1BF-93C1B7A017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356F5-5040-45F3-9DFE-AA818FBF1AB1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99446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93" r:id="rId2"/>
    <p:sldLayoutId id="2147483691" r:id="rId3"/>
    <p:sldLayoutId id="2147483690" r:id="rId4"/>
    <p:sldLayoutId id="2147483689" r:id="rId5"/>
    <p:sldLayoutId id="2147483688" r:id="rId6"/>
    <p:sldLayoutId id="2147483685" r:id="rId7"/>
    <p:sldLayoutId id="2147483684" r:id="rId8"/>
    <p:sldLayoutId id="2147483683" r:id="rId9"/>
    <p:sldLayoutId id="2147483682" r:id="rId10"/>
    <p:sldLayoutId id="2147483681" r:id="rId11"/>
    <p:sldLayoutId id="2147483694" r:id="rId12"/>
    <p:sldLayoutId id="2147483680" r:id="rId13"/>
    <p:sldLayoutId id="2147483679" r:id="rId14"/>
    <p:sldLayoutId id="2147483678" r:id="rId15"/>
    <p:sldLayoutId id="2147483677" r:id="rId16"/>
    <p:sldLayoutId id="2147483676" r:id="rId17"/>
    <p:sldLayoutId id="2147483674" r:id="rId18"/>
    <p:sldLayoutId id="2147483673" r:id="rId19"/>
    <p:sldLayoutId id="2147483687" r:id="rId20"/>
    <p:sldLayoutId id="2147483686" r:id="rId21"/>
    <p:sldLayoutId id="2147483675" r:id="rId22"/>
    <p:sldLayoutId id="2147483672" r:id="rId23"/>
    <p:sldLayoutId id="2147483671" r:id="rId24"/>
    <p:sldLayoutId id="2147483670" r:id="rId25"/>
    <p:sldLayoutId id="2147483669" r:id="rId26"/>
    <p:sldLayoutId id="2147483668" r:id="rId27"/>
    <p:sldLayoutId id="2147483667" r:id="rId28"/>
    <p:sldLayoutId id="2147483692" r:id="rId29"/>
    <p:sldLayoutId id="2147483695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image" Target="../media/image3.jpeg" /><Relationship Id="rId1" Type="http://schemas.openxmlformats.org/officeDocument/2006/relationships/slideLayout" Target="../slideLayouts/slideLayout27.xml" /><Relationship Id="rId4" Type="http://schemas.openxmlformats.org/officeDocument/2006/relationships/image" Target="../media/image5.svg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 /><Relationship Id="rId13" Type="http://schemas.openxmlformats.org/officeDocument/2006/relationships/chart" Target="../charts/chart9.xml" /><Relationship Id="rId3" Type="http://schemas.openxmlformats.org/officeDocument/2006/relationships/image" Target="../media/image16.png" /><Relationship Id="rId7" Type="http://schemas.openxmlformats.org/officeDocument/2006/relationships/image" Target="../media/image20.png" /><Relationship Id="rId12" Type="http://schemas.openxmlformats.org/officeDocument/2006/relationships/image" Target="../media/image25.png" /><Relationship Id="rId2" Type="http://schemas.openxmlformats.org/officeDocument/2006/relationships/chart" Target="../charts/chart8.xml" /><Relationship Id="rId1" Type="http://schemas.openxmlformats.org/officeDocument/2006/relationships/slideLayout" Target="../slideLayouts/slideLayout12.xml" /><Relationship Id="rId6" Type="http://schemas.openxmlformats.org/officeDocument/2006/relationships/image" Target="../media/image19.png" /><Relationship Id="rId11" Type="http://schemas.openxmlformats.org/officeDocument/2006/relationships/image" Target="../media/image24.png" /><Relationship Id="rId5" Type="http://schemas.openxmlformats.org/officeDocument/2006/relationships/image" Target="../media/image18.png" /><Relationship Id="rId10" Type="http://schemas.openxmlformats.org/officeDocument/2006/relationships/image" Target="../media/image23.png" /><Relationship Id="rId4" Type="http://schemas.openxmlformats.org/officeDocument/2006/relationships/image" Target="../media/image17.png" /><Relationship Id="rId9" Type="http://schemas.openxmlformats.org/officeDocument/2006/relationships/image" Target="../media/image22.png" /><Relationship Id="rId14" Type="http://schemas.openxmlformats.org/officeDocument/2006/relationships/chart" Target="../charts/chart10.xml" 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 /><Relationship Id="rId1" Type="http://schemas.openxmlformats.org/officeDocument/2006/relationships/slideLayout" Target="../slideLayouts/slideLayout12.xml" 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 /><Relationship Id="rId7" Type="http://schemas.openxmlformats.org/officeDocument/2006/relationships/image" Target="../media/image32.jpeg" /><Relationship Id="rId2" Type="http://schemas.openxmlformats.org/officeDocument/2006/relationships/image" Target="../media/image27.jfif" /><Relationship Id="rId1" Type="http://schemas.openxmlformats.org/officeDocument/2006/relationships/slideLayout" Target="../slideLayouts/slideLayout12.xml" /><Relationship Id="rId6" Type="http://schemas.openxmlformats.org/officeDocument/2006/relationships/image" Target="../media/image31.jfif" /><Relationship Id="rId5" Type="http://schemas.openxmlformats.org/officeDocument/2006/relationships/image" Target="../media/image30.png" /><Relationship Id="rId4" Type="http://schemas.openxmlformats.org/officeDocument/2006/relationships/image" Target="../media/image29.png" 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 /><Relationship Id="rId1" Type="http://schemas.openxmlformats.org/officeDocument/2006/relationships/slideLayout" Target="../slideLayouts/slideLayout29.xml" 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 /><Relationship Id="rId1" Type="http://schemas.openxmlformats.org/officeDocument/2006/relationships/slideLayout" Target="../slideLayouts/slideLayout12.xml" 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 /><Relationship Id="rId1" Type="http://schemas.openxmlformats.org/officeDocument/2006/relationships/slideLayout" Target="../slideLayouts/slideLayout12.xml" 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 /><Relationship Id="rId1" Type="http://schemas.openxmlformats.org/officeDocument/2006/relationships/slideLayout" Target="../slideLayouts/slideLayout12.xml" 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 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image" Target="../media/image3.jpeg" /><Relationship Id="rId1" Type="http://schemas.openxmlformats.org/officeDocument/2006/relationships/slideLayout" Target="../slideLayouts/slideLayout27.xml" /><Relationship Id="rId4" Type="http://schemas.openxmlformats.org/officeDocument/2006/relationships/image" Target="../media/image5.svg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 /><Relationship Id="rId1" Type="http://schemas.openxmlformats.org/officeDocument/2006/relationships/slideLayout" Target="../slideLayouts/slideLayout29.xml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 /><Relationship Id="rId3" Type="http://schemas.openxmlformats.org/officeDocument/2006/relationships/image" Target="../media/image6.jpeg" /><Relationship Id="rId7" Type="http://schemas.openxmlformats.org/officeDocument/2006/relationships/chart" Target="../charts/chart4.xml" /><Relationship Id="rId2" Type="http://schemas.openxmlformats.org/officeDocument/2006/relationships/chart" Target="../charts/chart1.xml" /><Relationship Id="rId1" Type="http://schemas.openxmlformats.org/officeDocument/2006/relationships/slideLayout" Target="../slideLayouts/slideLayout12.xml" /><Relationship Id="rId6" Type="http://schemas.openxmlformats.org/officeDocument/2006/relationships/chart" Target="../charts/chart3.xml" /><Relationship Id="rId5" Type="http://schemas.openxmlformats.org/officeDocument/2006/relationships/chart" Target="../charts/chart2.xml" /><Relationship Id="rId10" Type="http://schemas.openxmlformats.org/officeDocument/2006/relationships/chart" Target="../charts/chart6.xml" /><Relationship Id="rId4" Type="http://schemas.openxmlformats.org/officeDocument/2006/relationships/image" Target="../media/image7.jpeg" /><Relationship Id="rId9" Type="http://schemas.openxmlformats.org/officeDocument/2006/relationships/chart" Target="../charts/chart5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 /><Relationship Id="rId2" Type="http://schemas.openxmlformats.org/officeDocument/2006/relationships/image" Target="../media/image9.png" /><Relationship Id="rId1" Type="http://schemas.openxmlformats.org/officeDocument/2006/relationships/slideLayout" Target="../slideLayouts/slideLayout12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 /><Relationship Id="rId2" Type="http://schemas.openxmlformats.org/officeDocument/2006/relationships/image" Target="../media/image10.png" /><Relationship Id="rId1" Type="http://schemas.openxmlformats.org/officeDocument/2006/relationships/slideLayout" Target="../slideLayouts/slideLayout12.xml" /><Relationship Id="rId5" Type="http://schemas.openxmlformats.org/officeDocument/2006/relationships/image" Target="../media/image13.png" /><Relationship Id="rId4" Type="http://schemas.openxmlformats.org/officeDocument/2006/relationships/image" Target="../media/image12.emf" 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 /><Relationship Id="rId3" Type="http://schemas.openxmlformats.org/officeDocument/2006/relationships/tags" Target="../tags/tag3.xml" /><Relationship Id="rId7" Type="http://schemas.openxmlformats.org/officeDocument/2006/relationships/tags" Target="../tags/tag7.xml" /><Relationship Id="rId2" Type="http://schemas.openxmlformats.org/officeDocument/2006/relationships/tags" Target="../tags/tag2.xml" /><Relationship Id="rId1" Type="http://schemas.openxmlformats.org/officeDocument/2006/relationships/tags" Target="../tags/tag1.xml" /><Relationship Id="rId6" Type="http://schemas.openxmlformats.org/officeDocument/2006/relationships/tags" Target="../tags/tag6.xml" /><Relationship Id="rId5" Type="http://schemas.openxmlformats.org/officeDocument/2006/relationships/tags" Target="../tags/tag5.xml" /><Relationship Id="rId4" Type="http://schemas.openxmlformats.org/officeDocument/2006/relationships/tags" Target="../tags/tag4.xml" /><Relationship Id="rId9" Type="http://schemas.openxmlformats.org/officeDocument/2006/relationships/image" Target="../media/image14.tiff" 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 /><Relationship Id="rId1" Type="http://schemas.openxmlformats.org/officeDocument/2006/relationships/slideLayout" Target="../slideLayouts/slideLayout29.xml" 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 /><Relationship Id="rId1" Type="http://schemas.openxmlformats.org/officeDocument/2006/relationships/slideLayout" Target="../slideLayouts/slideLayout12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7">
            <a:extLst>
              <a:ext uri="{FF2B5EF4-FFF2-40B4-BE49-F238E27FC236}">
                <a16:creationId xmlns:a16="http://schemas.microsoft.com/office/drawing/2014/main" id="{D723ED60-F8EB-43FD-A66A-C616BC10114F}"/>
              </a:ext>
            </a:extLst>
          </p:cNvPr>
          <p:cNvSpPr txBox="1"/>
          <p:nvPr/>
        </p:nvSpPr>
        <p:spPr>
          <a:xfrm>
            <a:off x="767654" y="2745207"/>
            <a:ext cx="105554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en-US" sz="5400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Economy at a Glanc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2569" cy="1077447"/>
          </a:xfrm>
          <a:prstGeom prst="rect">
            <a:avLst/>
          </a:prstGeom>
        </p:spPr>
      </p:pic>
      <p:pic>
        <p:nvPicPr>
          <p:cNvPr id="8" name="رسم 24">
            <a:extLst>
              <a:ext uri="{FF2B5EF4-FFF2-40B4-BE49-F238E27FC236}">
                <a16:creationId xmlns:a16="http://schemas.microsoft.com/office/drawing/2014/main" id="{ADE8040D-62CF-4B78-A1EE-974F69C614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4426586"/>
            <a:ext cx="7389860" cy="2431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284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Chart 64"/>
          <p:cNvGraphicFramePr>
            <a:graphicFrameLocks/>
          </p:cNvGraphicFramePr>
          <p:nvPr/>
        </p:nvGraphicFramePr>
        <p:xfrm>
          <a:off x="252480" y="2047245"/>
          <a:ext cx="11642146" cy="1536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6" name="Picture 6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37" y="3538706"/>
            <a:ext cx="395671" cy="365760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1525" y="3567313"/>
            <a:ext cx="358759" cy="36576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015295" y="3565790"/>
            <a:ext cx="334422" cy="36576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040513" y="3538226"/>
            <a:ext cx="508257" cy="365760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12500" y="3565790"/>
            <a:ext cx="314305" cy="365760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75447" y="3559233"/>
            <a:ext cx="365760" cy="365760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446731" y="3542810"/>
            <a:ext cx="572269" cy="429202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767884" y="3563585"/>
            <a:ext cx="365760" cy="359507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882528" y="3574661"/>
            <a:ext cx="365760" cy="365036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832545" y="3517149"/>
            <a:ext cx="640080" cy="480060"/>
          </a:xfrm>
          <a:prstGeom prst="rect">
            <a:avLst/>
          </a:prstGeom>
        </p:spPr>
      </p:pic>
      <p:sp>
        <p:nvSpPr>
          <p:cNvPr id="95" name="Rectangle 94"/>
          <p:cNvSpPr/>
          <p:nvPr/>
        </p:nvSpPr>
        <p:spPr>
          <a:xfrm>
            <a:off x="5775741" y="4143602"/>
            <a:ext cx="4816724" cy="386892"/>
          </a:xfrm>
          <a:prstGeom prst="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est Asian Region</a:t>
            </a:r>
          </a:p>
        </p:txBody>
      </p:sp>
      <p:graphicFrame>
        <p:nvGraphicFramePr>
          <p:cNvPr id="96" name="Chart 95"/>
          <p:cNvGraphicFramePr/>
          <p:nvPr/>
        </p:nvGraphicFramePr>
        <p:xfrm>
          <a:off x="5805238" y="4663279"/>
          <a:ext cx="4787228" cy="2040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98" name="Rectangle 97"/>
          <p:cNvSpPr/>
          <p:nvPr/>
        </p:nvSpPr>
        <p:spPr>
          <a:xfrm>
            <a:off x="999021" y="4143602"/>
            <a:ext cx="4681726" cy="379194"/>
          </a:xfrm>
          <a:prstGeom prst="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ddle East and North Africa Region</a:t>
            </a:r>
          </a:p>
        </p:txBody>
      </p:sp>
      <p:graphicFrame>
        <p:nvGraphicFramePr>
          <p:cNvPr id="128" name="Chart 127"/>
          <p:cNvGraphicFramePr/>
          <p:nvPr/>
        </p:nvGraphicFramePr>
        <p:xfrm>
          <a:off x="999022" y="4655580"/>
          <a:ext cx="4697052" cy="2047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9" name="Rectangle 128"/>
          <p:cNvSpPr/>
          <p:nvPr/>
        </p:nvSpPr>
        <p:spPr>
          <a:xfrm>
            <a:off x="532972" y="1155760"/>
            <a:ext cx="17874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AD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AE FDI Strategy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90976" y="1660332"/>
            <a:ext cx="67519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Univers Next Arabic" panose="020B0503030202020203" pitchFamily="34" charset="-78"/>
              </a:rPr>
              <a:t>Top 10 Countries in the Flow of Foreign Direct Investment Globally 2019</a:t>
            </a:r>
          </a:p>
        </p:txBody>
      </p:sp>
    </p:spTree>
    <p:extLst>
      <p:ext uri="{BB962C8B-B14F-4D97-AF65-F5344CB8AC3E}">
        <p14:creationId xmlns:p14="http://schemas.microsoft.com/office/powerpoint/2010/main" val="8977712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 Environment</a:t>
            </a:r>
          </a:p>
        </p:txBody>
      </p:sp>
      <p:sp>
        <p:nvSpPr>
          <p:cNvPr id="63" name="Rectangle 62"/>
          <p:cNvSpPr/>
          <p:nvPr/>
        </p:nvSpPr>
        <p:spPr>
          <a:xfrm>
            <a:off x="532972" y="1899558"/>
            <a:ext cx="1137014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The UAE’s investment environment is marked by stability, modern infrastructure, effective economic policy, and modern economic legislations.</a:t>
            </a: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UAE enjoys domestic political stability and healthy international relations with the world.</a:t>
            </a: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Strategic trade hub, offering access to regional markets.</a:t>
            </a: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Free transfer of profits, revenues and assets.</a:t>
            </a: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Efficient legal and courts systems.</a:t>
            </a: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Laws to protect foreign capital (Such as IPR , competition).</a:t>
            </a: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285750" marR="0" lvl="0" indent="-28575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Free Zones options are available. </a:t>
            </a: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67" name="Slide Number Placeholder 1"/>
          <p:cNvSpPr txBox="1">
            <a:spLocks/>
          </p:cNvSpPr>
          <p:nvPr/>
        </p:nvSpPr>
        <p:spPr>
          <a:xfrm flipH="1">
            <a:off x="11903115" y="6870108"/>
            <a:ext cx="577770" cy="4032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bg1"/>
                </a:solidFill>
                <a:latin typeface="Univers Next Arabic" panose="020B0503030202020203" pitchFamily="34" charset="-78"/>
                <a:ea typeface="+mn-ea"/>
                <a:cs typeface="Univers Next Arabic" panose="020B0503030202020203" pitchFamily="34" charset="-7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B119BD-BB28-4F00-BA08-3CD2300E0933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Univers Next Arabic" panose="020B0503030202020203" pitchFamily="34" charset="-78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Univers Next Arabic" panose="020B050303020202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364991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 Environment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32972" y="1922770"/>
            <a:ext cx="11278483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mbitious legislative reforms to ensure efficiency, transparency, and investor confidence.</a:t>
            </a: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Low customs tariffs between 0 and 5 percent for almost all goods.</a:t>
            </a: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No income tax.</a:t>
            </a: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World class infrastructure.</a:t>
            </a: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Efficient Government (the “Smart Government” initiative).</a:t>
            </a: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Global aviation hub.</a:t>
            </a: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342900" marR="0" lvl="0" indent="-342900" algn="justLow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98D36"/>
              </a:buClr>
              <a:buSzTx/>
              <a:buFont typeface="Wingdings" panose="05000000000000000000" pitchFamily="2" charset="2"/>
              <a:buChar char="§"/>
              <a:tabLst>
                <a:tab pos="3600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Sophisticated lifestyle which made UAE the favorable destination for more than 200 nationalities.</a:t>
            </a:r>
          </a:p>
        </p:txBody>
      </p:sp>
    </p:spTree>
    <p:extLst>
      <p:ext uri="{BB962C8B-B14F-4D97-AF65-F5344CB8AC3E}">
        <p14:creationId xmlns:p14="http://schemas.microsoft.com/office/powerpoint/2010/main" val="2290801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 Environm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99422" y="1702505"/>
            <a:ext cx="47502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Univers Next Arabic" panose="020B0503030202020203" pitchFamily="34" charset="-78"/>
              </a:rPr>
              <a:t>Golden Visa </a:t>
            </a:r>
          </a:p>
        </p:txBody>
      </p:sp>
      <p:sp>
        <p:nvSpPr>
          <p:cNvPr id="8" name="Slide Number Placeholder 2"/>
          <p:cNvSpPr txBox="1">
            <a:spLocks/>
          </p:cNvSpPr>
          <p:nvPr/>
        </p:nvSpPr>
        <p:spPr>
          <a:xfrm flipH="1">
            <a:off x="11467624" y="6577704"/>
            <a:ext cx="577770" cy="4032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bg1"/>
                </a:solidFill>
                <a:latin typeface="Univers Next Arabic" panose="020B0503030202020203" pitchFamily="34" charset="-78"/>
                <a:ea typeface="+mn-ea"/>
                <a:cs typeface="Univers Next Arabic" panose="020B0503030202020203" pitchFamily="34" charset="-7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B119BD-BB28-4F00-BA08-3CD2300E0933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Univers Next Arabic" panose="020B0503030202020203" pitchFamily="34" charset="-78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Univers Next Arabic" panose="020B0503030202020203" pitchFamily="34" charset="-78"/>
            </a:endParaRPr>
          </a:p>
        </p:txBody>
      </p:sp>
      <p:pic>
        <p:nvPicPr>
          <p:cNvPr id="14" name="Picture Placeholder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99" r="17299"/>
          <a:stretch>
            <a:fillRect/>
          </a:stretch>
        </p:blipFill>
        <p:spPr>
          <a:xfrm>
            <a:off x="8331862" y="4015409"/>
            <a:ext cx="3424648" cy="227193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5" name="Freeform 9"/>
          <p:cNvSpPr>
            <a:spLocks noChangeAspect="1" noChangeArrowheads="1"/>
          </p:cNvSpPr>
          <p:nvPr/>
        </p:nvSpPr>
        <p:spPr bwMode="auto">
          <a:xfrm>
            <a:off x="454154" y="3175422"/>
            <a:ext cx="329295" cy="329383"/>
          </a:xfrm>
          <a:custGeom>
            <a:avLst/>
            <a:gdLst>
              <a:gd name="T0" fmla="*/ 212 w 426"/>
              <a:gd name="T1" fmla="*/ 0 h 426"/>
              <a:gd name="T2" fmla="*/ 212 w 426"/>
              <a:gd name="T3" fmla="*/ 0 h 426"/>
              <a:gd name="T4" fmla="*/ 0 w 426"/>
              <a:gd name="T5" fmla="*/ 213 h 426"/>
              <a:gd name="T6" fmla="*/ 212 w 426"/>
              <a:gd name="T7" fmla="*/ 425 h 426"/>
              <a:gd name="T8" fmla="*/ 425 w 426"/>
              <a:gd name="T9" fmla="*/ 213 h 426"/>
              <a:gd name="T10" fmla="*/ 212 w 426"/>
              <a:gd name="T11" fmla="*/ 0 h 426"/>
              <a:gd name="T12" fmla="*/ 229 w 426"/>
              <a:gd name="T13" fmla="*/ 390 h 426"/>
              <a:gd name="T14" fmla="*/ 229 w 426"/>
              <a:gd name="T15" fmla="*/ 390 h 426"/>
              <a:gd name="T16" fmla="*/ 229 w 426"/>
              <a:gd name="T17" fmla="*/ 292 h 426"/>
              <a:gd name="T18" fmla="*/ 194 w 426"/>
              <a:gd name="T19" fmla="*/ 292 h 426"/>
              <a:gd name="T20" fmla="*/ 194 w 426"/>
              <a:gd name="T21" fmla="*/ 390 h 426"/>
              <a:gd name="T22" fmla="*/ 35 w 426"/>
              <a:gd name="T23" fmla="*/ 230 h 426"/>
              <a:gd name="T24" fmla="*/ 132 w 426"/>
              <a:gd name="T25" fmla="*/ 230 h 426"/>
              <a:gd name="T26" fmla="*/ 132 w 426"/>
              <a:gd name="T27" fmla="*/ 195 h 426"/>
              <a:gd name="T28" fmla="*/ 35 w 426"/>
              <a:gd name="T29" fmla="*/ 195 h 426"/>
              <a:gd name="T30" fmla="*/ 194 w 426"/>
              <a:gd name="T31" fmla="*/ 44 h 426"/>
              <a:gd name="T32" fmla="*/ 194 w 426"/>
              <a:gd name="T33" fmla="*/ 142 h 426"/>
              <a:gd name="T34" fmla="*/ 229 w 426"/>
              <a:gd name="T35" fmla="*/ 142 h 426"/>
              <a:gd name="T36" fmla="*/ 229 w 426"/>
              <a:gd name="T37" fmla="*/ 44 h 426"/>
              <a:gd name="T38" fmla="*/ 380 w 426"/>
              <a:gd name="T39" fmla="*/ 195 h 426"/>
              <a:gd name="T40" fmla="*/ 292 w 426"/>
              <a:gd name="T41" fmla="*/ 195 h 426"/>
              <a:gd name="T42" fmla="*/ 292 w 426"/>
              <a:gd name="T43" fmla="*/ 230 h 426"/>
              <a:gd name="T44" fmla="*/ 380 w 426"/>
              <a:gd name="T45" fmla="*/ 230 h 426"/>
              <a:gd name="T46" fmla="*/ 229 w 426"/>
              <a:gd name="T47" fmla="*/ 390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26" h="426">
                <a:moveTo>
                  <a:pt x="212" y="0"/>
                </a:moveTo>
                <a:lnTo>
                  <a:pt x="212" y="0"/>
                </a:lnTo>
                <a:cubicBezTo>
                  <a:pt x="97" y="0"/>
                  <a:pt x="0" y="97"/>
                  <a:pt x="0" y="213"/>
                </a:cubicBezTo>
                <a:cubicBezTo>
                  <a:pt x="0" y="336"/>
                  <a:pt x="97" y="425"/>
                  <a:pt x="212" y="425"/>
                </a:cubicBezTo>
                <a:cubicBezTo>
                  <a:pt x="327" y="425"/>
                  <a:pt x="425" y="336"/>
                  <a:pt x="425" y="213"/>
                </a:cubicBezTo>
                <a:cubicBezTo>
                  <a:pt x="425" y="97"/>
                  <a:pt x="327" y="0"/>
                  <a:pt x="212" y="0"/>
                </a:cubicBezTo>
                <a:close/>
                <a:moveTo>
                  <a:pt x="229" y="390"/>
                </a:moveTo>
                <a:lnTo>
                  <a:pt x="229" y="390"/>
                </a:lnTo>
                <a:cubicBezTo>
                  <a:pt x="229" y="292"/>
                  <a:pt x="229" y="292"/>
                  <a:pt x="229" y="292"/>
                </a:cubicBezTo>
                <a:cubicBezTo>
                  <a:pt x="194" y="292"/>
                  <a:pt x="194" y="292"/>
                  <a:pt x="194" y="292"/>
                </a:cubicBezTo>
                <a:cubicBezTo>
                  <a:pt x="194" y="390"/>
                  <a:pt x="194" y="390"/>
                  <a:pt x="194" y="390"/>
                </a:cubicBezTo>
                <a:cubicBezTo>
                  <a:pt x="114" y="380"/>
                  <a:pt x="44" y="310"/>
                  <a:pt x="35" y="230"/>
                </a:cubicBezTo>
                <a:cubicBezTo>
                  <a:pt x="132" y="230"/>
                  <a:pt x="132" y="230"/>
                  <a:pt x="132" y="230"/>
                </a:cubicBezTo>
                <a:cubicBezTo>
                  <a:pt x="132" y="195"/>
                  <a:pt x="132" y="195"/>
                  <a:pt x="132" y="195"/>
                </a:cubicBezTo>
                <a:cubicBezTo>
                  <a:pt x="35" y="195"/>
                  <a:pt x="35" y="195"/>
                  <a:pt x="35" y="195"/>
                </a:cubicBezTo>
                <a:cubicBezTo>
                  <a:pt x="44" y="115"/>
                  <a:pt x="114" y="53"/>
                  <a:pt x="194" y="44"/>
                </a:cubicBezTo>
                <a:cubicBezTo>
                  <a:pt x="194" y="142"/>
                  <a:pt x="194" y="142"/>
                  <a:pt x="194" y="142"/>
                </a:cubicBezTo>
                <a:cubicBezTo>
                  <a:pt x="229" y="142"/>
                  <a:pt x="229" y="142"/>
                  <a:pt x="229" y="142"/>
                </a:cubicBezTo>
                <a:cubicBezTo>
                  <a:pt x="229" y="44"/>
                  <a:pt x="229" y="44"/>
                  <a:pt x="229" y="44"/>
                </a:cubicBezTo>
                <a:cubicBezTo>
                  <a:pt x="310" y="53"/>
                  <a:pt x="380" y="115"/>
                  <a:pt x="380" y="195"/>
                </a:cubicBezTo>
                <a:cubicBezTo>
                  <a:pt x="292" y="195"/>
                  <a:pt x="292" y="195"/>
                  <a:pt x="292" y="195"/>
                </a:cubicBezTo>
                <a:cubicBezTo>
                  <a:pt x="292" y="230"/>
                  <a:pt x="292" y="230"/>
                  <a:pt x="292" y="230"/>
                </a:cubicBezTo>
                <a:cubicBezTo>
                  <a:pt x="380" y="230"/>
                  <a:pt x="380" y="230"/>
                  <a:pt x="380" y="230"/>
                </a:cubicBezTo>
                <a:cubicBezTo>
                  <a:pt x="380" y="310"/>
                  <a:pt x="310" y="380"/>
                  <a:pt x="229" y="3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wrap="none" lIns="68586" tIns="34293" rIns="68586" bIns="34293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32972" y="2362311"/>
            <a:ext cx="847229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In 2019, the UAE implemented a new system for long-term residence visas. The new system enables foreigners to live, work and study in the UAE without the need of a national sponsor and with 100 per cent ownership of their business on the UAE’s mainland. These visas will be issued for 5 or 10 years and will be renewed automatically.</a:t>
            </a:r>
          </a:p>
          <a:p>
            <a:pPr algn="just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The following categories are entitled to apply for a 10-year residence visa in the UAE.</a:t>
            </a:r>
          </a:p>
          <a:p>
            <a:pPr algn="just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Investors in public investments 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Persons with specialized talents</a:t>
            </a:r>
          </a:p>
          <a:p>
            <a:pPr algn="just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1843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Environm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32972" y="1632983"/>
            <a:ext cx="34405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defRPr>
            </a:lvl1pPr>
          </a:lstStyle>
          <a:p>
            <a:r>
              <a:rPr lang="en-US" dirty="0"/>
              <a:t>UAE Bilateral Agreements </a:t>
            </a:r>
          </a:p>
        </p:txBody>
      </p:sp>
      <p:sp>
        <p:nvSpPr>
          <p:cNvPr id="8" name="Rectangle 7"/>
          <p:cNvSpPr/>
          <p:nvPr/>
        </p:nvSpPr>
        <p:spPr>
          <a:xfrm>
            <a:off x="419358" y="2086370"/>
            <a:ext cx="47965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B98D36"/>
              </a:buClr>
              <a:buFont typeface="Wingdings" panose="05000000000000000000" pitchFamily="2" charset="2"/>
              <a:buChar char="§"/>
              <a:tabLst>
                <a:tab pos="360000" algn="l"/>
              </a:tabLst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UAE has signed bilateral preferential agreements with some Arab Countries (Syria, Jordan, Lebanon, Morocco and Iraq).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534667" y="4319797"/>
            <a:ext cx="36195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greements related to encouragement and protection of investment 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692184" y="5652217"/>
            <a:ext cx="31756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greements on avoidance of double taxation with different countries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75650" y="5209386"/>
            <a:ext cx="28183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Low">
              <a:buClr>
                <a:srgbClr val="B98D36"/>
              </a:buClr>
              <a:buFont typeface="Wingdings" panose="05000000000000000000" pitchFamily="2" charset="2"/>
              <a:buChar char="§"/>
              <a:tabLst>
                <a:tab pos="360000" algn="l"/>
              </a:tabLst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t the end of 2019 UAE signed. </a:t>
            </a:r>
            <a:endParaRPr lang="ar-AE" sz="1600" dirty="0">
              <a:solidFill>
                <a:srgbClr val="656D78">
                  <a:lumMod val="50000"/>
                </a:srgbClr>
              </a:solidFill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3043203" y="5373427"/>
            <a:ext cx="1920240" cy="0"/>
          </a:xfrm>
          <a:prstGeom prst="straightConnector1">
            <a:avLst/>
          </a:prstGeom>
          <a:noFill/>
          <a:ln w="19050" cap="flat" cmpd="sng" algn="ctr">
            <a:solidFill>
              <a:srgbClr val="DAC386"/>
            </a:solidFill>
            <a:prstDash val="solid"/>
            <a:miter lim="800000"/>
            <a:headEnd w="lg" len="lg"/>
            <a:tailEnd type="triangle"/>
          </a:ln>
          <a:effectLst/>
        </p:spPr>
      </p:cxnSp>
      <p:grpSp>
        <p:nvGrpSpPr>
          <p:cNvPr id="18" name="Group 17"/>
          <p:cNvGrpSpPr/>
          <p:nvPr/>
        </p:nvGrpSpPr>
        <p:grpSpPr>
          <a:xfrm>
            <a:off x="4342408" y="4387425"/>
            <a:ext cx="1092666" cy="661523"/>
            <a:chOff x="2448795" y="2889786"/>
            <a:chExt cx="1172328" cy="709752"/>
          </a:xfrm>
        </p:grpSpPr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2765589" y="2889786"/>
              <a:ext cx="531520" cy="709752"/>
            </a:xfrm>
            <a:custGeom>
              <a:avLst/>
              <a:gdLst>
                <a:gd name="T0" fmla="*/ 23 w 141"/>
                <a:gd name="T1" fmla="*/ 69 h 189"/>
                <a:gd name="T2" fmla="*/ 35 w 141"/>
                <a:gd name="T3" fmla="*/ 57 h 189"/>
                <a:gd name="T4" fmla="*/ 35 w 141"/>
                <a:gd name="T5" fmla="*/ 79 h 189"/>
                <a:gd name="T6" fmla="*/ 23 w 141"/>
                <a:gd name="T7" fmla="*/ 92 h 189"/>
                <a:gd name="T8" fmla="*/ 35 w 141"/>
                <a:gd name="T9" fmla="*/ 79 h 189"/>
                <a:gd name="T10" fmla="*/ 23 w 141"/>
                <a:gd name="T11" fmla="*/ 101 h 189"/>
                <a:gd name="T12" fmla="*/ 35 w 141"/>
                <a:gd name="T13" fmla="*/ 114 h 189"/>
                <a:gd name="T14" fmla="*/ 35 w 141"/>
                <a:gd name="T15" fmla="*/ 123 h 189"/>
                <a:gd name="T16" fmla="*/ 23 w 141"/>
                <a:gd name="T17" fmla="*/ 136 h 189"/>
                <a:gd name="T18" fmla="*/ 35 w 141"/>
                <a:gd name="T19" fmla="*/ 123 h 189"/>
                <a:gd name="T20" fmla="*/ 35 w 141"/>
                <a:gd name="T21" fmla="*/ 158 h 189"/>
                <a:gd name="T22" fmla="*/ 23 w 141"/>
                <a:gd name="T23" fmla="*/ 146 h 189"/>
                <a:gd name="T24" fmla="*/ 44 w 141"/>
                <a:gd name="T25" fmla="*/ 158 h 189"/>
                <a:gd name="T26" fmla="*/ 119 w 141"/>
                <a:gd name="T27" fmla="*/ 151 h 189"/>
                <a:gd name="T28" fmla="*/ 44 w 141"/>
                <a:gd name="T29" fmla="*/ 158 h 189"/>
                <a:gd name="T30" fmla="*/ 44 w 141"/>
                <a:gd name="T31" fmla="*/ 129 h 189"/>
                <a:gd name="T32" fmla="*/ 119 w 141"/>
                <a:gd name="T33" fmla="*/ 136 h 189"/>
                <a:gd name="T34" fmla="*/ 119 w 141"/>
                <a:gd name="T35" fmla="*/ 107 h 189"/>
                <a:gd name="T36" fmla="*/ 44 w 141"/>
                <a:gd name="T37" fmla="*/ 114 h 189"/>
                <a:gd name="T38" fmla="*/ 119 w 141"/>
                <a:gd name="T39" fmla="*/ 107 h 189"/>
                <a:gd name="T40" fmla="*/ 44 w 141"/>
                <a:gd name="T41" fmla="*/ 62 h 189"/>
                <a:gd name="T42" fmla="*/ 119 w 141"/>
                <a:gd name="T43" fmla="*/ 69 h 189"/>
                <a:gd name="T44" fmla="*/ 119 w 141"/>
                <a:gd name="T45" fmla="*/ 84 h 189"/>
                <a:gd name="T46" fmla="*/ 44 w 141"/>
                <a:gd name="T47" fmla="*/ 92 h 189"/>
                <a:gd name="T48" fmla="*/ 119 w 141"/>
                <a:gd name="T49" fmla="*/ 84 h 189"/>
                <a:gd name="T50" fmla="*/ 59 w 141"/>
                <a:gd name="T51" fmla="*/ 12 h 189"/>
                <a:gd name="T52" fmla="*/ 82 w 141"/>
                <a:gd name="T53" fmla="*/ 12 h 189"/>
                <a:gd name="T54" fmla="*/ 115 w 141"/>
                <a:gd name="T55" fmla="*/ 37 h 189"/>
                <a:gd name="T56" fmla="*/ 37 w 141"/>
                <a:gd name="T57" fmla="*/ 23 h 189"/>
                <a:gd name="T58" fmla="*/ 71 w 141"/>
                <a:gd name="T59" fmla="*/ 15 h 189"/>
                <a:gd name="T60" fmla="*/ 71 w 141"/>
                <a:gd name="T61" fmla="*/ 9 h 189"/>
                <a:gd name="T62" fmla="*/ 132 w 141"/>
                <a:gd name="T63" fmla="*/ 16 h 189"/>
                <a:gd name="T64" fmla="*/ 106 w 141"/>
                <a:gd name="T65" fmla="*/ 18 h 189"/>
                <a:gd name="T66" fmla="*/ 130 w 141"/>
                <a:gd name="T67" fmla="*/ 27 h 189"/>
                <a:gd name="T68" fmla="*/ 11 w 141"/>
                <a:gd name="T69" fmla="*/ 178 h 189"/>
                <a:gd name="T70" fmla="*/ 24 w 141"/>
                <a:gd name="T71" fmla="*/ 27 h 189"/>
                <a:gd name="T72" fmla="*/ 43 w 141"/>
                <a:gd name="T73" fmla="*/ 16 h 189"/>
                <a:gd name="T74" fmla="*/ 0 w 141"/>
                <a:gd name="T75" fmla="*/ 25 h 189"/>
                <a:gd name="T76" fmla="*/ 9 w 141"/>
                <a:gd name="T77" fmla="*/ 189 h 189"/>
                <a:gd name="T78" fmla="*/ 141 w 141"/>
                <a:gd name="T79" fmla="*/ 180 h 189"/>
                <a:gd name="T80" fmla="*/ 132 w 141"/>
                <a:gd name="T81" fmla="*/ 1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89">
                  <a:moveTo>
                    <a:pt x="35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35" y="57"/>
                    <a:pt x="35" y="57"/>
                    <a:pt x="35" y="57"/>
                  </a:cubicBezTo>
                  <a:lnTo>
                    <a:pt x="35" y="69"/>
                  </a:lnTo>
                  <a:close/>
                  <a:moveTo>
                    <a:pt x="35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35" y="92"/>
                    <a:pt x="35" y="92"/>
                    <a:pt x="35" y="92"/>
                  </a:cubicBezTo>
                  <a:lnTo>
                    <a:pt x="35" y="79"/>
                  </a:lnTo>
                  <a:close/>
                  <a:moveTo>
                    <a:pt x="35" y="101"/>
                  </a:moveTo>
                  <a:cubicBezTo>
                    <a:pt x="23" y="101"/>
                    <a:pt x="23" y="101"/>
                    <a:pt x="23" y="101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35" y="114"/>
                    <a:pt x="35" y="114"/>
                    <a:pt x="35" y="114"/>
                  </a:cubicBezTo>
                  <a:lnTo>
                    <a:pt x="35" y="101"/>
                  </a:lnTo>
                  <a:close/>
                  <a:moveTo>
                    <a:pt x="35" y="123"/>
                  </a:moveTo>
                  <a:cubicBezTo>
                    <a:pt x="23" y="123"/>
                    <a:pt x="23" y="123"/>
                    <a:pt x="23" y="123"/>
                  </a:cubicBezTo>
                  <a:cubicBezTo>
                    <a:pt x="23" y="136"/>
                    <a:pt x="23" y="136"/>
                    <a:pt x="23" y="136"/>
                  </a:cubicBezTo>
                  <a:cubicBezTo>
                    <a:pt x="35" y="136"/>
                    <a:pt x="35" y="136"/>
                    <a:pt x="35" y="136"/>
                  </a:cubicBezTo>
                  <a:lnTo>
                    <a:pt x="35" y="123"/>
                  </a:lnTo>
                  <a:close/>
                  <a:moveTo>
                    <a:pt x="23" y="158"/>
                  </a:moveTo>
                  <a:cubicBezTo>
                    <a:pt x="35" y="158"/>
                    <a:pt x="35" y="158"/>
                    <a:pt x="35" y="158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23" y="146"/>
                    <a:pt x="23" y="146"/>
                    <a:pt x="23" y="146"/>
                  </a:cubicBezTo>
                  <a:lnTo>
                    <a:pt x="23" y="158"/>
                  </a:lnTo>
                  <a:close/>
                  <a:moveTo>
                    <a:pt x="44" y="158"/>
                  </a:moveTo>
                  <a:cubicBezTo>
                    <a:pt x="119" y="158"/>
                    <a:pt x="119" y="158"/>
                    <a:pt x="119" y="158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44" y="151"/>
                    <a:pt x="44" y="151"/>
                    <a:pt x="44" y="151"/>
                  </a:cubicBezTo>
                  <a:lnTo>
                    <a:pt x="44" y="158"/>
                  </a:lnTo>
                  <a:close/>
                  <a:moveTo>
                    <a:pt x="119" y="129"/>
                  </a:moveTo>
                  <a:cubicBezTo>
                    <a:pt x="44" y="129"/>
                    <a:pt x="44" y="129"/>
                    <a:pt x="44" y="129"/>
                  </a:cubicBezTo>
                  <a:cubicBezTo>
                    <a:pt x="44" y="136"/>
                    <a:pt x="44" y="136"/>
                    <a:pt x="44" y="136"/>
                  </a:cubicBezTo>
                  <a:cubicBezTo>
                    <a:pt x="119" y="136"/>
                    <a:pt x="119" y="136"/>
                    <a:pt x="119" y="136"/>
                  </a:cubicBezTo>
                  <a:lnTo>
                    <a:pt x="119" y="129"/>
                  </a:lnTo>
                  <a:close/>
                  <a:moveTo>
                    <a:pt x="119" y="107"/>
                  </a:moveTo>
                  <a:cubicBezTo>
                    <a:pt x="44" y="107"/>
                    <a:pt x="44" y="107"/>
                    <a:pt x="44" y="107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119" y="114"/>
                    <a:pt x="119" y="114"/>
                    <a:pt x="119" y="114"/>
                  </a:cubicBezTo>
                  <a:lnTo>
                    <a:pt x="119" y="107"/>
                  </a:lnTo>
                  <a:close/>
                  <a:moveTo>
                    <a:pt x="119" y="62"/>
                  </a:moveTo>
                  <a:cubicBezTo>
                    <a:pt x="44" y="62"/>
                    <a:pt x="44" y="62"/>
                    <a:pt x="44" y="62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119" y="69"/>
                    <a:pt x="119" y="69"/>
                    <a:pt x="119" y="69"/>
                  </a:cubicBezTo>
                  <a:lnTo>
                    <a:pt x="119" y="62"/>
                  </a:lnTo>
                  <a:close/>
                  <a:moveTo>
                    <a:pt x="119" y="84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119" y="92"/>
                    <a:pt x="119" y="92"/>
                    <a:pt x="119" y="92"/>
                  </a:cubicBezTo>
                  <a:lnTo>
                    <a:pt x="119" y="84"/>
                  </a:lnTo>
                  <a:close/>
                  <a:moveTo>
                    <a:pt x="37" y="23"/>
                  </a:moveTo>
                  <a:cubicBezTo>
                    <a:pt x="56" y="18"/>
                    <a:pt x="59" y="16"/>
                    <a:pt x="59" y="12"/>
                  </a:cubicBezTo>
                  <a:cubicBezTo>
                    <a:pt x="59" y="5"/>
                    <a:pt x="64" y="0"/>
                    <a:pt x="71" y="0"/>
                  </a:cubicBezTo>
                  <a:cubicBezTo>
                    <a:pt x="77" y="0"/>
                    <a:pt x="82" y="5"/>
                    <a:pt x="82" y="12"/>
                  </a:cubicBezTo>
                  <a:cubicBezTo>
                    <a:pt x="82" y="16"/>
                    <a:pt x="85" y="18"/>
                    <a:pt x="104" y="23"/>
                  </a:cubicBezTo>
                  <a:cubicBezTo>
                    <a:pt x="115" y="26"/>
                    <a:pt x="115" y="37"/>
                    <a:pt x="115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26"/>
                    <a:pt x="37" y="23"/>
                  </a:cubicBezTo>
                  <a:moveTo>
                    <a:pt x="68" y="12"/>
                  </a:moveTo>
                  <a:cubicBezTo>
                    <a:pt x="68" y="13"/>
                    <a:pt x="69" y="15"/>
                    <a:pt x="71" y="15"/>
                  </a:cubicBezTo>
                  <a:cubicBezTo>
                    <a:pt x="72" y="15"/>
                    <a:pt x="74" y="13"/>
                    <a:pt x="74" y="12"/>
                  </a:cubicBezTo>
                  <a:cubicBezTo>
                    <a:pt x="74" y="10"/>
                    <a:pt x="72" y="9"/>
                    <a:pt x="71" y="9"/>
                  </a:cubicBezTo>
                  <a:cubicBezTo>
                    <a:pt x="69" y="9"/>
                    <a:pt x="68" y="10"/>
                    <a:pt x="68" y="12"/>
                  </a:cubicBezTo>
                  <a:moveTo>
                    <a:pt x="132" y="16"/>
                  </a:moveTo>
                  <a:cubicBezTo>
                    <a:pt x="99" y="16"/>
                    <a:pt x="99" y="16"/>
                    <a:pt x="99" y="16"/>
                  </a:cubicBezTo>
                  <a:cubicBezTo>
                    <a:pt x="101" y="17"/>
                    <a:pt x="103" y="17"/>
                    <a:pt x="106" y="18"/>
                  </a:cubicBezTo>
                  <a:cubicBezTo>
                    <a:pt x="112" y="20"/>
                    <a:pt x="115" y="23"/>
                    <a:pt x="118" y="27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1" y="178"/>
                    <a:pt x="11" y="178"/>
                    <a:pt x="11" y="178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6" y="23"/>
                    <a:pt x="30" y="20"/>
                    <a:pt x="36" y="18"/>
                  </a:cubicBezTo>
                  <a:cubicBezTo>
                    <a:pt x="38" y="17"/>
                    <a:pt x="41" y="17"/>
                    <a:pt x="43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4" y="16"/>
                    <a:pt x="0" y="20"/>
                    <a:pt x="0" y="2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85"/>
                    <a:pt x="4" y="189"/>
                    <a:pt x="9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7" y="189"/>
                    <a:pt x="141" y="185"/>
                    <a:pt x="141" y="180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0"/>
                    <a:pt x="137" y="16"/>
                    <a:pt x="132" y="16"/>
                  </a:cubicBezTo>
                </a:path>
              </a:pathLst>
            </a:custGeom>
            <a:solidFill>
              <a:srgbClr val="3E3C4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 rot="18900000">
              <a:off x="3230639" y="3088751"/>
              <a:ext cx="390484" cy="380766"/>
            </a:xfrm>
            <a:custGeom>
              <a:avLst/>
              <a:gdLst>
                <a:gd name="T0" fmla="*/ 64 w 187"/>
                <a:gd name="T1" fmla="*/ 82 h 182"/>
                <a:gd name="T2" fmla="*/ 74 w 187"/>
                <a:gd name="T3" fmla="*/ 92 h 182"/>
                <a:gd name="T4" fmla="*/ 59 w 187"/>
                <a:gd name="T5" fmla="*/ 99 h 182"/>
                <a:gd name="T6" fmla="*/ 47 w 187"/>
                <a:gd name="T7" fmla="*/ 95 h 182"/>
                <a:gd name="T8" fmla="*/ 7 w 187"/>
                <a:gd name="T9" fmla="*/ 54 h 182"/>
                <a:gd name="T10" fmla="*/ 9 w 187"/>
                <a:gd name="T11" fmla="*/ 27 h 182"/>
                <a:gd name="T12" fmla="*/ 30 w 187"/>
                <a:gd name="T13" fmla="*/ 7 h 182"/>
                <a:gd name="T14" fmla="*/ 46 w 187"/>
                <a:gd name="T15" fmla="*/ 0 h 182"/>
                <a:gd name="T16" fmla="*/ 57 w 187"/>
                <a:gd name="T17" fmla="*/ 4 h 182"/>
                <a:gd name="T18" fmla="*/ 97 w 187"/>
                <a:gd name="T19" fmla="*/ 44 h 182"/>
                <a:gd name="T20" fmla="*/ 95 w 187"/>
                <a:gd name="T21" fmla="*/ 72 h 182"/>
                <a:gd name="T22" fmla="*/ 85 w 187"/>
                <a:gd name="T23" fmla="*/ 61 h 182"/>
                <a:gd name="T24" fmla="*/ 87 w 187"/>
                <a:gd name="T25" fmla="*/ 55 h 182"/>
                <a:gd name="T26" fmla="*/ 47 w 187"/>
                <a:gd name="T27" fmla="*/ 14 h 182"/>
                <a:gd name="T28" fmla="*/ 46 w 187"/>
                <a:gd name="T29" fmla="*/ 14 h 182"/>
                <a:gd name="T30" fmla="*/ 40 w 187"/>
                <a:gd name="T31" fmla="*/ 17 h 182"/>
                <a:gd name="T32" fmla="*/ 20 w 187"/>
                <a:gd name="T33" fmla="*/ 37 h 182"/>
                <a:gd name="T34" fmla="*/ 17 w 187"/>
                <a:gd name="T35" fmla="*/ 44 h 182"/>
                <a:gd name="T36" fmla="*/ 58 w 187"/>
                <a:gd name="T37" fmla="*/ 84 h 182"/>
                <a:gd name="T38" fmla="*/ 64 w 187"/>
                <a:gd name="T39" fmla="*/ 82 h 182"/>
                <a:gd name="T40" fmla="*/ 180 w 187"/>
                <a:gd name="T41" fmla="*/ 127 h 182"/>
                <a:gd name="T42" fmla="*/ 140 w 187"/>
                <a:gd name="T43" fmla="*/ 87 h 182"/>
                <a:gd name="T44" fmla="*/ 128 w 187"/>
                <a:gd name="T45" fmla="*/ 82 h 182"/>
                <a:gd name="T46" fmla="*/ 113 w 187"/>
                <a:gd name="T47" fmla="*/ 89 h 182"/>
                <a:gd name="T48" fmla="*/ 123 w 187"/>
                <a:gd name="T49" fmla="*/ 100 h 182"/>
                <a:gd name="T50" fmla="*/ 128 w 187"/>
                <a:gd name="T51" fmla="*/ 97 h 182"/>
                <a:gd name="T52" fmla="*/ 129 w 187"/>
                <a:gd name="T53" fmla="*/ 97 h 182"/>
                <a:gd name="T54" fmla="*/ 170 w 187"/>
                <a:gd name="T55" fmla="*/ 138 h 182"/>
                <a:gd name="T56" fmla="*/ 167 w 187"/>
                <a:gd name="T57" fmla="*/ 144 h 182"/>
                <a:gd name="T58" fmla="*/ 147 w 187"/>
                <a:gd name="T59" fmla="*/ 165 h 182"/>
                <a:gd name="T60" fmla="*/ 140 w 187"/>
                <a:gd name="T61" fmla="*/ 167 h 182"/>
                <a:gd name="T62" fmla="*/ 100 w 187"/>
                <a:gd name="T63" fmla="*/ 127 h 182"/>
                <a:gd name="T64" fmla="*/ 102 w 187"/>
                <a:gd name="T65" fmla="*/ 120 h 182"/>
                <a:gd name="T66" fmla="*/ 92 w 187"/>
                <a:gd name="T67" fmla="*/ 110 h 182"/>
                <a:gd name="T68" fmla="*/ 90 w 187"/>
                <a:gd name="T69" fmla="*/ 137 h 182"/>
                <a:gd name="T70" fmla="*/ 130 w 187"/>
                <a:gd name="T71" fmla="*/ 177 h 182"/>
                <a:gd name="T72" fmla="*/ 141 w 187"/>
                <a:gd name="T73" fmla="*/ 182 h 182"/>
                <a:gd name="T74" fmla="*/ 141 w 187"/>
                <a:gd name="T75" fmla="*/ 182 h 182"/>
                <a:gd name="T76" fmla="*/ 157 w 187"/>
                <a:gd name="T77" fmla="*/ 175 h 182"/>
                <a:gd name="T78" fmla="*/ 178 w 187"/>
                <a:gd name="T79" fmla="*/ 155 h 182"/>
                <a:gd name="T80" fmla="*/ 180 w 187"/>
                <a:gd name="T81" fmla="*/ 127 h 182"/>
                <a:gd name="T82" fmla="*/ 60 w 187"/>
                <a:gd name="T83" fmla="*/ 57 h 182"/>
                <a:gd name="T84" fmla="*/ 60 w 187"/>
                <a:gd name="T85" fmla="*/ 70 h 182"/>
                <a:gd name="T86" fmla="*/ 114 w 187"/>
                <a:gd name="T87" fmla="*/ 124 h 182"/>
                <a:gd name="T88" fmla="*/ 121 w 187"/>
                <a:gd name="T89" fmla="*/ 127 h 182"/>
                <a:gd name="T90" fmla="*/ 127 w 187"/>
                <a:gd name="T91" fmla="*/ 124 h 182"/>
                <a:gd name="T92" fmla="*/ 127 w 187"/>
                <a:gd name="T93" fmla="*/ 112 h 182"/>
                <a:gd name="T94" fmla="*/ 73 w 187"/>
                <a:gd name="T95" fmla="*/ 57 h 182"/>
                <a:gd name="T96" fmla="*/ 60 w 187"/>
                <a:gd name="T97" fmla="*/ 5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7" h="182">
                  <a:moveTo>
                    <a:pt x="64" y="82"/>
                  </a:moveTo>
                  <a:cubicBezTo>
                    <a:pt x="74" y="92"/>
                    <a:pt x="74" y="92"/>
                    <a:pt x="74" y="92"/>
                  </a:cubicBezTo>
                  <a:cubicBezTo>
                    <a:pt x="70" y="97"/>
                    <a:pt x="64" y="99"/>
                    <a:pt x="59" y="99"/>
                  </a:cubicBezTo>
                  <a:cubicBezTo>
                    <a:pt x="54" y="99"/>
                    <a:pt x="50" y="98"/>
                    <a:pt x="47" y="9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47"/>
                    <a:pt x="1" y="35"/>
                    <a:pt x="9" y="2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4" y="2"/>
                    <a:pt x="40" y="0"/>
                    <a:pt x="46" y="0"/>
                  </a:cubicBezTo>
                  <a:cubicBezTo>
                    <a:pt x="50" y="0"/>
                    <a:pt x="54" y="1"/>
                    <a:pt x="57" y="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104" y="51"/>
                    <a:pt x="103" y="63"/>
                    <a:pt x="95" y="72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7" y="58"/>
                    <a:pt x="87" y="55"/>
                    <a:pt x="8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6" y="14"/>
                    <a:pt x="46" y="14"/>
                  </a:cubicBezTo>
                  <a:cubicBezTo>
                    <a:pt x="44" y="14"/>
                    <a:pt x="42" y="15"/>
                    <a:pt x="40" y="1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7" y="40"/>
                    <a:pt x="17" y="43"/>
                    <a:pt x="17" y="4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61" y="85"/>
                    <a:pt x="64" y="82"/>
                  </a:cubicBezTo>
                  <a:close/>
                  <a:moveTo>
                    <a:pt x="180" y="127"/>
                  </a:moveTo>
                  <a:cubicBezTo>
                    <a:pt x="140" y="87"/>
                    <a:pt x="140" y="87"/>
                    <a:pt x="140" y="87"/>
                  </a:cubicBezTo>
                  <a:cubicBezTo>
                    <a:pt x="137" y="84"/>
                    <a:pt x="133" y="82"/>
                    <a:pt x="128" y="82"/>
                  </a:cubicBezTo>
                  <a:cubicBezTo>
                    <a:pt x="123" y="82"/>
                    <a:pt x="117" y="85"/>
                    <a:pt x="113" y="89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25" y="98"/>
                    <a:pt x="127" y="97"/>
                    <a:pt x="128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0" y="138"/>
                    <a:pt x="170" y="141"/>
                    <a:pt x="167" y="144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4" y="167"/>
                    <a:pt x="141" y="167"/>
                    <a:pt x="140" y="167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100" y="126"/>
                    <a:pt x="100" y="123"/>
                    <a:pt x="102" y="120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84" y="118"/>
                    <a:pt x="83" y="130"/>
                    <a:pt x="90" y="137"/>
                  </a:cubicBezTo>
                  <a:cubicBezTo>
                    <a:pt x="130" y="177"/>
                    <a:pt x="130" y="177"/>
                    <a:pt x="130" y="177"/>
                  </a:cubicBezTo>
                  <a:cubicBezTo>
                    <a:pt x="133" y="180"/>
                    <a:pt x="137" y="182"/>
                    <a:pt x="141" y="182"/>
                  </a:cubicBezTo>
                  <a:cubicBezTo>
                    <a:pt x="141" y="182"/>
                    <a:pt x="141" y="182"/>
                    <a:pt x="141" y="182"/>
                  </a:cubicBezTo>
                  <a:cubicBezTo>
                    <a:pt x="147" y="182"/>
                    <a:pt x="153" y="179"/>
                    <a:pt x="157" y="175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86" y="146"/>
                    <a:pt x="187" y="134"/>
                    <a:pt x="180" y="127"/>
                  </a:cubicBezTo>
                  <a:close/>
                  <a:moveTo>
                    <a:pt x="60" y="57"/>
                  </a:moveTo>
                  <a:cubicBezTo>
                    <a:pt x="56" y="61"/>
                    <a:pt x="56" y="66"/>
                    <a:pt x="60" y="70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6" y="126"/>
                    <a:pt x="118" y="127"/>
                    <a:pt x="121" y="127"/>
                  </a:cubicBezTo>
                  <a:cubicBezTo>
                    <a:pt x="123" y="127"/>
                    <a:pt x="125" y="126"/>
                    <a:pt x="127" y="124"/>
                  </a:cubicBezTo>
                  <a:cubicBezTo>
                    <a:pt x="131" y="121"/>
                    <a:pt x="131" y="115"/>
                    <a:pt x="127" y="112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69" y="53"/>
                    <a:pt x="63" y="53"/>
                    <a:pt x="60" y="57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 rot="18900000">
              <a:off x="2448795" y="3088751"/>
              <a:ext cx="390484" cy="380766"/>
            </a:xfrm>
            <a:custGeom>
              <a:avLst/>
              <a:gdLst>
                <a:gd name="T0" fmla="*/ 64 w 187"/>
                <a:gd name="T1" fmla="*/ 82 h 182"/>
                <a:gd name="T2" fmla="*/ 74 w 187"/>
                <a:gd name="T3" fmla="*/ 92 h 182"/>
                <a:gd name="T4" fmla="*/ 59 w 187"/>
                <a:gd name="T5" fmla="*/ 99 h 182"/>
                <a:gd name="T6" fmla="*/ 47 w 187"/>
                <a:gd name="T7" fmla="*/ 95 h 182"/>
                <a:gd name="T8" fmla="*/ 7 w 187"/>
                <a:gd name="T9" fmla="*/ 54 h 182"/>
                <a:gd name="T10" fmla="*/ 9 w 187"/>
                <a:gd name="T11" fmla="*/ 27 h 182"/>
                <a:gd name="T12" fmla="*/ 30 w 187"/>
                <a:gd name="T13" fmla="*/ 7 h 182"/>
                <a:gd name="T14" fmla="*/ 46 w 187"/>
                <a:gd name="T15" fmla="*/ 0 h 182"/>
                <a:gd name="T16" fmla="*/ 57 w 187"/>
                <a:gd name="T17" fmla="*/ 4 h 182"/>
                <a:gd name="T18" fmla="*/ 97 w 187"/>
                <a:gd name="T19" fmla="*/ 44 h 182"/>
                <a:gd name="T20" fmla="*/ 95 w 187"/>
                <a:gd name="T21" fmla="*/ 72 h 182"/>
                <a:gd name="T22" fmla="*/ 85 w 187"/>
                <a:gd name="T23" fmla="*/ 61 h 182"/>
                <a:gd name="T24" fmla="*/ 87 w 187"/>
                <a:gd name="T25" fmla="*/ 55 h 182"/>
                <a:gd name="T26" fmla="*/ 47 w 187"/>
                <a:gd name="T27" fmla="*/ 14 h 182"/>
                <a:gd name="T28" fmla="*/ 46 w 187"/>
                <a:gd name="T29" fmla="*/ 14 h 182"/>
                <a:gd name="T30" fmla="*/ 40 w 187"/>
                <a:gd name="T31" fmla="*/ 17 h 182"/>
                <a:gd name="T32" fmla="*/ 20 w 187"/>
                <a:gd name="T33" fmla="*/ 37 h 182"/>
                <a:gd name="T34" fmla="*/ 17 w 187"/>
                <a:gd name="T35" fmla="*/ 44 h 182"/>
                <a:gd name="T36" fmla="*/ 58 w 187"/>
                <a:gd name="T37" fmla="*/ 84 h 182"/>
                <a:gd name="T38" fmla="*/ 64 w 187"/>
                <a:gd name="T39" fmla="*/ 82 h 182"/>
                <a:gd name="T40" fmla="*/ 180 w 187"/>
                <a:gd name="T41" fmla="*/ 127 h 182"/>
                <a:gd name="T42" fmla="*/ 140 w 187"/>
                <a:gd name="T43" fmla="*/ 87 h 182"/>
                <a:gd name="T44" fmla="*/ 128 w 187"/>
                <a:gd name="T45" fmla="*/ 82 h 182"/>
                <a:gd name="T46" fmla="*/ 113 w 187"/>
                <a:gd name="T47" fmla="*/ 89 h 182"/>
                <a:gd name="T48" fmla="*/ 123 w 187"/>
                <a:gd name="T49" fmla="*/ 100 h 182"/>
                <a:gd name="T50" fmla="*/ 128 w 187"/>
                <a:gd name="T51" fmla="*/ 97 h 182"/>
                <a:gd name="T52" fmla="*/ 129 w 187"/>
                <a:gd name="T53" fmla="*/ 97 h 182"/>
                <a:gd name="T54" fmla="*/ 170 w 187"/>
                <a:gd name="T55" fmla="*/ 138 h 182"/>
                <a:gd name="T56" fmla="*/ 167 w 187"/>
                <a:gd name="T57" fmla="*/ 144 h 182"/>
                <a:gd name="T58" fmla="*/ 147 w 187"/>
                <a:gd name="T59" fmla="*/ 165 h 182"/>
                <a:gd name="T60" fmla="*/ 140 w 187"/>
                <a:gd name="T61" fmla="*/ 167 h 182"/>
                <a:gd name="T62" fmla="*/ 100 w 187"/>
                <a:gd name="T63" fmla="*/ 127 h 182"/>
                <a:gd name="T64" fmla="*/ 102 w 187"/>
                <a:gd name="T65" fmla="*/ 120 h 182"/>
                <a:gd name="T66" fmla="*/ 92 w 187"/>
                <a:gd name="T67" fmla="*/ 110 h 182"/>
                <a:gd name="T68" fmla="*/ 90 w 187"/>
                <a:gd name="T69" fmla="*/ 137 h 182"/>
                <a:gd name="T70" fmla="*/ 130 w 187"/>
                <a:gd name="T71" fmla="*/ 177 h 182"/>
                <a:gd name="T72" fmla="*/ 141 w 187"/>
                <a:gd name="T73" fmla="*/ 182 h 182"/>
                <a:gd name="T74" fmla="*/ 141 w 187"/>
                <a:gd name="T75" fmla="*/ 182 h 182"/>
                <a:gd name="T76" fmla="*/ 157 w 187"/>
                <a:gd name="T77" fmla="*/ 175 h 182"/>
                <a:gd name="T78" fmla="*/ 178 w 187"/>
                <a:gd name="T79" fmla="*/ 155 h 182"/>
                <a:gd name="T80" fmla="*/ 180 w 187"/>
                <a:gd name="T81" fmla="*/ 127 h 182"/>
                <a:gd name="T82" fmla="*/ 60 w 187"/>
                <a:gd name="T83" fmla="*/ 57 h 182"/>
                <a:gd name="T84" fmla="*/ 60 w 187"/>
                <a:gd name="T85" fmla="*/ 70 h 182"/>
                <a:gd name="T86" fmla="*/ 114 w 187"/>
                <a:gd name="T87" fmla="*/ 124 h 182"/>
                <a:gd name="T88" fmla="*/ 121 w 187"/>
                <a:gd name="T89" fmla="*/ 127 h 182"/>
                <a:gd name="T90" fmla="*/ 127 w 187"/>
                <a:gd name="T91" fmla="*/ 124 h 182"/>
                <a:gd name="T92" fmla="*/ 127 w 187"/>
                <a:gd name="T93" fmla="*/ 112 h 182"/>
                <a:gd name="T94" fmla="*/ 73 w 187"/>
                <a:gd name="T95" fmla="*/ 57 h 182"/>
                <a:gd name="T96" fmla="*/ 60 w 187"/>
                <a:gd name="T97" fmla="*/ 5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7" h="182">
                  <a:moveTo>
                    <a:pt x="64" y="82"/>
                  </a:moveTo>
                  <a:cubicBezTo>
                    <a:pt x="74" y="92"/>
                    <a:pt x="74" y="92"/>
                    <a:pt x="74" y="92"/>
                  </a:cubicBezTo>
                  <a:cubicBezTo>
                    <a:pt x="70" y="97"/>
                    <a:pt x="64" y="99"/>
                    <a:pt x="59" y="99"/>
                  </a:cubicBezTo>
                  <a:cubicBezTo>
                    <a:pt x="54" y="99"/>
                    <a:pt x="50" y="98"/>
                    <a:pt x="47" y="9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47"/>
                    <a:pt x="1" y="35"/>
                    <a:pt x="9" y="2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4" y="2"/>
                    <a:pt x="40" y="0"/>
                    <a:pt x="46" y="0"/>
                  </a:cubicBezTo>
                  <a:cubicBezTo>
                    <a:pt x="50" y="0"/>
                    <a:pt x="54" y="1"/>
                    <a:pt x="57" y="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104" y="51"/>
                    <a:pt x="103" y="63"/>
                    <a:pt x="95" y="72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7" y="58"/>
                    <a:pt x="87" y="55"/>
                    <a:pt x="8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6" y="14"/>
                    <a:pt x="46" y="14"/>
                  </a:cubicBezTo>
                  <a:cubicBezTo>
                    <a:pt x="44" y="14"/>
                    <a:pt x="42" y="15"/>
                    <a:pt x="40" y="1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7" y="40"/>
                    <a:pt x="17" y="43"/>
                    <a:pt x="17" y="4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61" y="85"/>
                    <a:pt x="64" y="82"/>
                  </a:cubicBezTo>
                  <a:close/>
                  <a:moveTo>
                    <a:pt x="180" y="127"/>
                  </a:moveTo>
                  <a:cubicBezTo>
                    <a:pt x="140" y="87"/>
                    <a:pt x="140" y="87"/>
                    <a:pt x="140" y="87"/>
                  </a:cubicBezTo>
                  <a:cubicBezTo>
                    <a:pt x="137" y="84"/>
                    <a:pt x="133" y="82"/>
                    <a:pt x="128" y="82"/>
                  </a:cubicBezTo>
                  <a:cubicBezTo>
                    <a:pt x="123" y="82"/>
                    <a:pt x="117" y="85"/>
                    <a:pt x="113" y="89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25" y="98"/>
                    <a:pt x="127" y="97"/>
                    <a:pt x="128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0" y="138"/>
                    <a:pt x="170" y="141"/>
                    <a:pt x="167" y="144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4" y="167"/>
                    <a:pt x="141" y="167"/>
                    <a:pt x="140" y="167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100" y="126"/>
                    <a:pt x="100" y="123"/>
                    <a:pt x="102" y="120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84" y="118"/>
                    <a:pt x="83" y="130"/>
                    <a:pt x="90" y="137"/>
                  </a:cubicBezTo>
                  <a:cubicBezTo>
                    <a:pt x="130" y="177"/>
                    <a:pt x="130" y="177"/>
                    <a:pt x="130" y="177"/>
                  </a:cubicBezTo>
                  <a:cubicBezTo>
                    <a:pt x="133" y="180"/>
                    <a:pt x="137" y="182"/>
                    <a:pt x="141" y="182"/>
                  </a:cubicBezTo>
                  <a:cubicBezTo>
                    <a:pt x="141" y="182"/>
                    <a:pt x="141" y="182"/>
                    <a:pt x="141" y="182"/>
                  </a:cubicBezTo>
                  <a:cubicBezTo>
                    <a:pt x="147" y="182"/>
                    <a:pt x="153" y="179"/>
                    <a:pt x="157" y="175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86" y="146"/>
                    <a:pt x="187" y="134"/>
                    <a:pt x="180" y="127"/>
                  </a:cubicBezTo>
                  <a:close/>
                  <a:moveTo>
                    <a:pt x="60" y="57"/>
                  </a:moveTo>
                  <a:cubicBezTo>
                    <a:pt x="56" y="61"/>
                    <a:pt x="56" y="66"/>
                    <a:pt x="60" y="70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6" y="126"/>
                    <a:pt x="118" y="127"/>
                    <a:pt x="121" y="127"/>
                  </a:cubicBezTo>
                  <a:cubicBezTo>
                    <a:pt x="123" y="127"/>
                    <a:pt x="125" y="126"/>
                    <a:pt x="127" y="124"/>
                  </a:cubicBezTo>
                  <a:cubicBezTo>
                    <a:pt x="131" y="121"/>
                    <a:pt x="131" y="115"/>
                    <a:pt x="127" y="112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69" y="53"/>
                    <a:pt x="63" y="53"/>
                    <a:pt x="60" y="57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5470574" y="4356052"/>
            <a:ext cx="91523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B98D36"/>
              </a:buClr>
              <a:tabLst>
                <a:tab pos="360000" algn="l"/>
              </a:tabLst>
            </a:pPr>
            <a:r>
              <a:rPr lang="en-US" sz="4400" dirty="0">
                <a:solidFill>
                  <a:srgbClr val="9E7904"/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78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406926" y="5728233"/>
            <a:ext cx="124239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B98D36"/>
              </a:buClr>
              <a:tabLst>
                <a:tab pos="360000" algn="l"/>
              </a:tabLst>
            </a:pPr>
            <a:r>
              <a:rPr lang="en-US" sz="4400" dirty="0">
                <a:solidFill>
                  <a:srgbClr val="9E7904"/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115</a:t>
            </a:r>
          </a:p>
        </p:txBody>
      </p:sp>
      <p:cxnSp>
        <p:nvCxnSpPr>
          <p:cNvPr id="24" name="Straight Connector 23"/>
          <p:cNvCxnSpPr/>
          <p:nvPr/>
        </p:nvCxnSpPr>
        <p:spPr>
          <a:xfrm flipH="1">
            <a:off x="6527618" y="4882854"/>
            <a:ext cx="3291840" cy="0"/>
          </a:xfrm>
          <a:prstGeom prst="line">
            <a:avLst/>
          </a:prstGeom>
          <a:noFill/>
          <a:ln w="9525" cap="flat" cmpd="sng" algn="ctr">
            <a:solidFill>
              <a:srgbClr val="3E3C43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25" name="Group 24"/>
          <p:cNvGrpSpPr/>
          <p:nvPr/>
        </p:nvGrpSpPr>
        <p:grpSpPr>
          <a:xfrm>
            <a:off x="10122881" y="4213723"/>
            <a:ext cx="903287" cy="900113"/>
            <a:chOff x="967184" y="3612998"/>
            <a:chExt cx="903287" cy="900113"/>
          </a:xfrm>
        </p:grpSpPr>
        <p:sp>
          <p:nvSpPr>
            <p:cNvPr id="26" name="Freeform 5"/>
            <p:cNvSpPr>
              <a:spLocks/>
            </p:cNvSpPr>
            <p:nvPr/>
          </p:nvSpPr>
          <p:spPr bwMode="auto">
            <a:xfrm>
              <a:off x="1198959" y="4146398"/>
              <a:ext cx="671512" cy="271463"/>
            </a:xfrm>
            <a:custGeom>
              <a:avLst/>
              <a:gdLst>
                <a:gd name="T0" fmla="*/ 544 w 544"/>
                <a:gd name="T1" fmla="*/ 80 h 220"/>
                <a:gd name="T2" fmla="*/ 521 w 544"/>
                <a:gd name="T3" fmla="*/ 105 h 220"/>
                <a:gd name="T4" fmla="*/ 414 w 544"/>
                <a:gd name="T5" fmla="*/ 170 h 220"/>
                <a:gd name="T6" fmla="*/ 291 w 544"/>
                <a:gd name="T7" fmla="*/ 216 h 220"/>
                <a:gd name="T8" fmla="*/ 251 w 544"/>
                <a:gd name="T9" fmla="*/ 214 h 220"/>
                <a:gd name="T10" fmla="*/ 178 w 544"/>
                <a:gd name="T11" fmla="*/ 201 h 220"/>
                <a:gd name="T12" fmla="*/ 99 w 544"/>
                <a:gd name="T13" fmla="*/ 168 h 220"/>
                <a:gd name="T14" fmla="*/ 50 w 544"/>
                <a:gd name="T15" fmla="*/ 163 h 220"/>
                <a:gd name="T16" fmla="*/ 8 w 544"/>
                <a:gd name="T17" fmla="*/ 176 h 220"/>
                <a:gd name="T18" fmla="*/ 0 w 544"/>
                <a:gd name="T19" fmla="*/ 178 h 220"/>
                <a:gd name="T20" fmla="*/ 0 w 544"/>
                <a:gd name="T21" fmla="*/ 93 h 220"/>
                <a:gd name="T22" fmla="*/ 1 w 544"/>
                <a:gd name="T23" fmla="*/ 43 h 220"/>
                <a:gd name="T24" fmla="*/ 3 w 544"/>
                <a:gd name="T25" fmla="*/ 37 h 220"/>
                <a:gd name="T26" fmla="*/ 114 w 544"/>
                <a:gd name="T27" fmla="*/ 1 h 220"/>
                <a:gd name="T28" fmla="*/ 205 w 544"/>
                <a:gd name="T29" fmla="*/ 32 h 220"/>
                <a:gd name="T30" fmla="*/ 230 w 544"/>
                <a:gd name="T31" fmla="*/ 52 h 220"/>
                <a:gd name="T32" fmla="*/ 295 w 544"/>
                <a:gd name="T33" fmla="*/ 81 h 220"/>
                <a:gd name="T34" fmla="*/ 335 w 544"/>
                <a:gd name="T35" fmla="*/ 90 h 220"/>
                <a:gd name="T36" fmla="*/ 353 w 544"/>
                <a:gd name="T37" fmla="*/ 112 h 220"/>
                <a:gd name="T38" fmla="*/ 341 w 544"/>
                <a:gd name="T39" fmla="*/ 128 h 220"/>
                <a:gd name="T40" fmla="*/ 259 w 544"/>
                <a:gd name="T41" fmla="*/ 129 h 220"/>
                <a:gd name="T42" fmla="*/ 184 w 544"/>
                <a:gd name="T43" fmla="*/ 105 h 220"/>
                <a:gd name="T44" fmla="*/ 154 w 544"/>
                <a:gd name="T45" fmla="*/ 87 h 220"/>
                <a:gd name="T46" fmla="*/ 195 w 544"/>
                <a:gd name="T47" fmla="*/ 135 h 220"/>
                <a:gd name="T48" fmla="*/ 266 w 544"/>
                <a:gd name="T49" fmla="*/ 151 h 220"/>
                <a:gd name="T50" fmla="*/ 342 w 544"/>
                <a:gd name="T51" fmla="*/ 150 h 220"/>
                <a:gd name="T52" fmla="*/ 373 w 544"/>
                <a:gd name="T53" fmla="*/ 124 h 220"/>
                <a:gd name="T54" fmla="*/ 362 w 544"/>
                <a:gd name="T55" fmla="*/ 84 h 220"/>
                <a:gd name="T56" fmla="*/ 350 w 544"/>
                <a:gd name="T57" fmla="*/ 76 h 220"/>
                <a:gd name="T58" fmla="*/ 337 w 544"/>
                <a:gd name="T59" fmla="*/ 70 h 220"/>
                <a:gd name="T60" fmla="*/ 397 w 544"/>
                <a:gd name="T61" fmla="*/ 40 h 220"/>
                <a:gd name="T62" fmla="*/ 418 w 544"/>
                <a:gd name="T63" fmla="*/ 37 h 220"/>
                <a:gd name="T64" fmla="*/ 436 w 544"/>
                <a:gd name="T65" fmla="*/ 51 h 220"/>
                <a:gd name="T66" fmla="*/ 458 w 544"/>
                <a:gd name="T67" fmla="*/ 45 h 220"/>
                <a:gd name="T68" fmla="*/ 474 w 544"/>
                <a:gd name="T69" fmla="*/ 47 h 220"/>
                <a:gd name="T70" fmla="*/ 485 w 544"/>
                <a:gd name="T71" fmla="*/ 60 h 220"/>
                <a:gd name="T72" fmla="*/ 502 w 544"/>
                <a:gd name="T73" fmla="*/ 53 h 220"/>
                <a:gd name="T74" fmla="*/ 528 w 544"/>
                <a:gd name="T75" fmla="*/ 52 h 220"/>
                <a:gd name="T76" fmla="*/ 544 w 544"/>
                <a:gd name="T77" fmla="*/ 68 h 220"/>
                <a:gd name="T78" fmla="*/ 544 w 544"/>
                <a:gd name="T79" fmla="*/ 8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44" h="220">
                  <a:moveTo>
                    <a:pt x="544" y="80"/>
                  </a:moveTo>
                  <a:cubicBezTo>
                    <a:pt x="540" y="91"/>
                    <a:pt x="531" y="99"/>
                    <a:pt x="521" y="105"/>
                  </a:cubicBezTo>
                  <a:cubicBezTo>
                    <a:pt x="485" y="127"/>
                    <a:pt x="450" y="150"/>
                    <a:pt x="414" y="170"/>
                  </a:cubicBezTo>
                  <a:cubicBezTo>
                    <a:pt x="375" y="191"/>
                    <a:pt x="333" y="204"/>
                    <a:pt x="291" y="216"/>
                  </a:cubicBezTo>
                  <a:cubicBezTo>
                    <a:pt x="278" y="220"/>
                    <a:pt x="265" y="216"/>
                    <a:pt x="251" y="214"/>
                  </a:cubicBezTo>
                  <a:cubicBezTo>
                    <a:pt x="227" y="210"/>
                    <a:pt x="202" y="207"/>
                    <a:pt x="178" y="201"/>
                  </a:cubicBezTo>
                  <a:cubicBezTo>
                    <a:pt x="150" y="195"/>
                    <a:pt x="124" y="182"/>
                    <a:pt x="99" y="168"/>
                  </a:cubicBezTo>
                  <a:cubicBezTo>
                    <a:pt x="83" y="159"/>
                    <a:pt x="67" y="157"/>
                    <a:pt x="50" y="163"/>
                  </a:cubicBezTo>
                  <a:cubicBezTo>
                    <a:pt x="36" y="168"/>
                    <a:pt x="22" y="172"/>
                    <a:pt x="8" y="176"/>
                  </a:cubicBezTo>
                  <a:cubicBezTo>
                    <a:pt x="6" y="177"/>
                    <a:pt x="4" y="177"/>
                    <a:pt x="0" y="178"/>
                  </a:cubicBezTo>
                  <a:cubicBezTo>
                    <a:pt x="0" y="149"/>
                    <a:pt x="0" y="121"/>
                    <a:pt x="0" y="93"/>
                  </a:cubicBezTo>
                  <a:cubicBezTo>
                    <a:pt x="0" y="76"/>
                    <a:pt x="0" y="60"/>
                    <a:pt x="1" y="43"/>
                  </a:cubicBezTo>
                  <a:cubicBezTo>
                    <a:pt x="1" y="41"/>
                    <a:pt x="2" y="38"/>
                    <a:pt x="3" y="37"/>
                  </a:cubicBezTo>
                  <a:cubicBezTo>
                    <a:pt x="38" y="17"/>
                    <a:pt x="74" y="2"/>
                    <a:pt x="114" y="1"/>
                  </a:cubicBezTo>
                  <a:cubicBezTo>
                    <a:pt x="148" y="0"/>
                    <a:pt x="178" y="13"/>
                    <a:pt x="205" y="32"/>
                  </a:cubicBezTo>
                  <a:cubicBezTo>
                    <a:pt x="214" y="38"/>
                    <a:pt x="223" y="44"/>
                    <a:pt x="230" y="52"/>
                  </a:cubicBezTo>
                  <a:cubicBezTo>
                    <a:pt x="248" y="70"/>
                    <a:pt x="271" y="77"/>
                    <a:pt x="295" y="81"/>
                  </a:cubicBezTo>
                  <a:cubicBezTo>
                    <a:pt x="309" y="83"/>
                    <a:pt x="322" y="86"/>
                    <a:pt x="335" y="90"/>
                  </a:cubicBezTo>
                  <a:cubicBezTo>
                    <a:pt x="346" y="93"/>
                    <a:pt x="352" y="100"/>
                    <a:pt x="353" y="112"/>
                  </a:cubicBezTo>
                  <a:cubicBezTo>
                    <a:pt x="353" y="120"/>
                    <a:pt x="348" y="128"/>
                    <a:pt x="341" y="128"/>
                  </a:cubicBezTo>
                  <a:cubicBezTo>
                    <a:pt x="313" y="129"/>
                    <a:pt x="286" y="129"/>
                    <a:pt x="259" y="129"/>
                  </a:cubicBezTo>
                  <a:cubicBezTo>
                    <a:pt x="232" y="128"/>
                    <a:pt x="208" y="118"/>
                    <a:pt x="184" y="105"/>
                  </a:cubicBezTo>
                  <a:cubicBezTo>
                    <a:pt x="175" y="99"/>
                    <a:pt x="165" y="94"/>
                    <a:pt x="154" y="87"/>
                  </a:cubicBezTo>
                  <a:cubicBezTo>
                    <a:pt x="163" y="109"/>
                    <a:pt x="175" y="126"/>
                    <a:pt x="195" y="135"/>
                  </a:cubicBezTo>
                  <a:cubicBezTo>
                    <a:pt x="218" y="146"/>
                    <a:pt x="242" y="151"/>
                    <a:pt x="266" y="151"/>
                  </a:cubicBezTo>
                  <a:cubicBezTo>
                    <a:pt x="291" y="151"/>
                    <a:pt x="317" y="150"/>
                    <a:pt x="342" y="150"/>
                  </a:cubicBezTo>
                  <a:cubicBezTo>
                    <a:pt x="357" y="149"/>
                    <a:pt x="368" y="139"/>
                    <a:pt x="373" y="124"/>
                  </a:cubicBezTo>
                  <a:cubicBezTo>
                    <a:pt x="378" y="108"/>
                    <a:pt x="375" y="94"/>
                    <a:pt x="362" y="84"/>
                  </a:cubicBezTo>
                  <a:cubicBezTo>
                    <a:pt x="359" y="81"/>
                    <a:pt x="355" y="78"/>
                    <a:pt x="350" y="76"/>
                  </a:cubicBezTo>
                  <a:cubicBezTo>
                    <a:pt x="346" y="74"/>
                    <a:pt x="342" y="72"/>
                    <a:pt x="337" y="70"/>
                  </a:cubicBezTo>
                  <a:cubicBezTo>
                    <a:pt x="358" y="60"/>
                    <a:pt x="377" y="49"/>
                    <a:pt x="397" y="40"/>
                  </a:cubicBezTo>
                  <a:cubicBezTo>
                    <a:pt x="403" y="37"/>
                    <a:pt x="411" y="37"/>
                    <a:pt x="418" y="37"/>
                  </a:cubicBezTo>
                  <a:cubicBezTo>
                    <a:pt x="428" y="37"/>
                    <a:pt x="433" y="41"/>
                    <a:pt x="436" y="51"/>
                  </a:cubicBezTo>
                  <a:cubicBezTo>
                    <a:pt x="443" y="49"/>
                    <a:pt x="450" y="46"/>
                    <a:pt x="458" y="45"/>
                  </a:cubicBezTo>
                  <a:cubicBezTo>
                    <a:pt x="463" y="44"/>
                    <a:pt x="469" y="45"/>
                    <a:pt x="474" y="47"/>
                  </a:cubicBezTo>
                  <a:cubicBezTo>
                    <a:pt x="478" y="50"/>
                    <a:pt x="480" y="55"/>
                    <a:pt x="485" y="60"/>
                  </a:cubicBezTo>
                  <a:cubicBezTo>
                    <a:pt x="489" y="58"/>
                    <a:pt x="495" y="55"/>
                    <a:pt x="502" y="53"/>
                  </a:cubicBezTo>
                  <a:cubicBezTo>
                    <a:pt x="510" y="50"/>
                    <a:pt x="519" y="48"/>
                    <a:pt x="528" y="52"/>
                  </a:cubicBezTo>
                  <a:cubicBezTo>
                    <a:pt x="536" y="55"/>
                    <a:pt x="540" y="61"/>
                    <a:pt x="544" y="68"/>
                  </a:cubicBezTo>
                  <a:cubicBezTo>
                    <a:pt x="544" y="72"/>
                    <a:pt x="544" y="76"/>
                    <a:pt x="544" y="80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/>
          </p:nvSpPr>
          <p:spPr bwMode="auto">
            <a:xfrm>
              <a:off x="967184" y="4140048"/>
              <a:ext cx="196850" cy="373063"/>
            </a:xfrm>
            <a:custGeom>
              <a:avLst/>
              <a:gdLst>
                <a:gd name="T0" fmla="*/ 0 w 160"/>
                <a:gd name="T1" fmla="*/ 30 h 301"/>
                <a:gd name="T2" fmla="*/ 64 w 160"/>
                <a:gd name="T3" fmla="*/ 18 h 301"/>
                <a:gd name="T4" fmla="*/ 142 w 160"/>
                <a:gd name="T5" fmla="*/ 2 h 301"/>
                <a:gd name="T6" fmla="*/ 160 w 160"/>
                <a:gd name="T7" fmla="*/ 17 h 301"/>
                <a:gd name="T8" fmla="*/ 160 w 160"/>
                <a:gd name="T9" fmla="*/ 233 h 301"/>
                <a:gd name="T10" fmla="*/ 150 w 160"/>
                <a:gd name="T11" fmla="*/ 248 h 301"/>
                <a:gd name="T12" fmla="*/ 6 w 160"/>
                <a:gd name="T13" fmla="*/ 300 h 301"/>
                <a:gd name="T14" fmla="*/ 0 w 160"/>
                <a:gd name="T15" fmla="*/ 301 h 301"/>
                <a:gd name="T16" fmla="*/ 0 w 160"/>
                <a:gd name="T17" fmla="*/ 30 h 301"/>
                <a:gd name="T18" fmla="*/ 68 w 160"/>
                <a:gd name="T19" fmla="*/ 222 h 301"/>
                <a:gd name="T20" fmla="*/ 91 w 160"/>
                <a:gd name="T21" fmla="*/ 199 h 301"/>
                <a:gd name="T22" fmla="*/ 68 w 160"/>
                <a:gd name="T23" fmla="*/ 176 h 301"/>
                <a:gd name="T24" fmla="*/ 45 w 160"/>
                <a:gd name="T25" fmla="*/ 199 h 301"/>
                <a:gd name="T26" fmla="*/ 68 w 160"/>
                <a:gd name="T27" fmla="*/ 22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0" h="301">
                  <a:moveTo>
                    <a:pt x="0" y="30"/>
                  </a:moveTo>
                  <a:cubicBezTo>
                    <a:pt x="22" y="26"/>
                    <a:pt x="43" y="22"/>
                    <a:pt x="64" y="18"/>
                  </a:cubicBezTo>
                  <a:cubicBezTo>
                    <a:pt x="90" y="12"/>
                    <a:pt x="116" y="7"/>
                    <a:pt x="142" y="2"/>
                  </a:cubicBezTo>
                  <a:cubicBezTo>
                    <a:pt x="154" y="0"/>
                    <a:pt x="160" y="4"/>
                    <a:pt x="160" y="17"/>
                  </a:cubicBezTo>
                  <a:cubicBezTo>
                    <a:pt x="160" y="89"/>
                    <a:pt x="160" y="161"/>
                    <a:pt x="160" y="233"/>
                  </a:cubicBezTo>
                  <a:cubicBezTo>
                    <a:pt x="160" y="241"/>
                    <a:pt x="157" y="246"/>
                    <a:pt x="150" y="248"/>
                  </a:cubicBezTo>
                  <a:cubicBezTo>
                    <a:pt x="102" y="265"/>
                    <a:pt x="54" y="283"/>
                    <a:pt x="6" y="300"/>
                  </a:cubicBezTo>
                  <a:cubicBezTo>
                    <a:pt x="4" y="300"/>
                    <a:pt x="2" y="301"/>
                    <a:pt x="0" y="301"/>
                  </a:cubicBezTo>
                  <a:cubicBezTo>
                    <a:pt x="0" y="211"/>
                    <a:pt x="0" y="121"/>
                    <a:pt x="0" y="30"/>
                  </a:cubicBezTo>
                  <a:close/>
                  <a:moveTo>
                    <a:pt x="68" y="222"/>
                  </a:moveTo>
                  <a:cubicBezTo>
                    <a:pt x="81" y="222"/>
                    <a:pt x="91" y="211"/>
                    <a:pt x="91" y="199"/>
                  </a:cubicBezTo>
                  <a:cubicBezTo>
                    <a:pt x="91" y="186"/>
                    <a:pt x="81" y="176"/>
                    <a:pt x="68" y="176"/>
                  </a:cubicBezTo>
                  <a:cubicBezTo>
                    <a:pt x="55" y="176"/>
                    <a:pt x="45" y="187"/>
                    <a:pt x="45" y="199"/>
                  </a:cubicBezTo>
                  <a:cubicBezTo>
                    <a:pt x="45" y="212"/>
                    <a:pt x="56" y="222"/>
                    <a:pt x="68" y="222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/>
          </p:nvSpPr>
          <p:spPr bwMode="auto">
            <a:xfrm>
              <a:off x="1489472" y="3992410"/>
              <a:ext cx="196850" cy="198438"/>
            </a:xfrm>
            <a:custGeom>
              <a:avLst/>
              <a:gdLst>
                <a:gd name="T0" fmla="*/ 0 w 160"/>
                <a:gd name="T1" fmla="*/ 81 h 161"/>
                <a:gd name="T2" fmla="*/ 79 w 160"/>
                <a:gd name="T3" fmla="*/ 1 h 161"/>
                <a:gd name="T4" fmla="*/ 160 w 160"/>
                <a:gd name="T5" fmla="*/ 80 h 161"/>
                <a:gd name="T6" fmla="*/ 80 w 160"/>
                <a:gd name="T7" fmla="*/ 161 h 161"/>
                <a:gd name="T8" fmla="*/ 0 w 160"/>
                <a:gd name="T9" fmla="*/ 81 h 161"/>
                <a:gd name="T10" fmla="*/ 54 w 160"/>
                <a:gd name="T11" fmla="*/ 94 h 161"/>
                <a:gd name="T12" fmla="*/ 49 w 160"/>
                <a:gd name="T13" fmla="*/ 94 h 161"/>
                <a:gd name="T14" fmla="*/ 42 w 160"/>
                <a:gd name="T15" fmla="*/ 105 h 161"/>
                <a:gd name="T16" fmla="*/ 65 w 160"/>
                <a:gd name="T17" fmla="*/ 125 h 161"/>
                <a:gd name="T18" fmla="*/ 73 w 160"/>
                <a:gd name="T19" fmla="*/ 132 h 161"/>
                <a:gd name="T20" fmla="*/ 79 w 160"/>
                <a:gd name="T21" fmla="*/ 136 h 161"/>
                <a:gd name="T22" fmla="*/ 85 w 160"/>
                <a:gd name="T23" fmla="*/ 133 h 161"/>
                <a:gd name="T24" fmla="*/ 94 w 160"/>
                <a:gd name="T25" fmla="*/ 125 h 161"/>
                <a:gd name="T26" fmla="*/ 119 w 160"/>
                <a:gd name="T27" fmla="*/ 101 h 161"/>
                <a:gd name="T28" fmla="*/ 100 w 160"/>
                <a:gd name="T29" fmla="*/ 72 h 161"/>
                <a:gd name="T30" fmla="*/ 88 w 160"/>
                <a:gd name="T31" fmla="*/ 69 h 161"/>
                <a:gd name="T32" fmla="*/ 69 w 160"/>
                <a:gd name="T33" fmla="*/ 63 h 161"/>
                <a:gd name="T34" fmla="*/ 67 w 160"/>
                <a:gd name="T35" fmla="*/ 51 h 161"/>
                <a:gd name="T36" fmla="*/ 95 w 160"/>
                <a:gd name="T37" fmla="*/ 56 h 161"/>
                <a:gd name="T38" fmla="*/ 102 w 160"/>
                <a:gd name="T39" fmla="*/ 60 h 161"/>
                <a:gd name="T40" fmla="*/ 111 w 160"/>
                <a:gd name="T41" fmla="*/ 61 h 161"/>
                <a:gd name="T42" fmla="*/ 116 w 160"/>
                <a:gd name="T43" fmla="*/ 53 h 161"/>
                <a:gd name="T44" fmla="*/ 94 w 160"/>
                <a:gd name="T45" fmla="*/ 33 h 161"/>
                <a:gd name="T46" fmla="*/ 88 w 160"/>
                <a:gd name="T47" fmla="*/ 30 h 161"/>
                <a:gd name="T48" fmla="*/ 81 w 160"/>
                <a:gd name="T49" fmla="*/ 24 h 161"/>
                <a:gd name="T50" fmla="*/ 74 w 160"/>
                <a:gd name="T51" fmla="*/ 30 h 161"/>
                <a:gd name="T52" fmla="*/ 69 w 160"/>
                <a:gd name="T53" fmla="*/ 33 h 161"/>
                <a:gd name="T54" fmla="*/ 59 w 160"/>
                <a:gd name="T55" fmla="*/ 36 h 161"/>
                <a:gd name="T56" fmla="*/ 42 w 160"/>
                <a:gd name="T57" fmla="*/ 60 h 161"/>
                <a:gd name="T58" fmla="*/ 57 w 160"/>
                <a:gd name="T59" fmla="*/ 82 h 161"/>
                <a:gd name="T60" fmla="*/ 76 w 160"/>
                <a:gd name="T61" fmla="*/ 88 h 161"/>
                <a:gd name="T62" fmla="*/ 91 w 160"/>
                <a:gd name="T63" fmla="*/ 93 h 161"/>
                <a:gd name="T64" fmla="*/ 95 w 160"/>
                <a:gd name="T65" fmla="*/ 101 h 161"/>
                <a:gd name="T66" fmla="*/ 89 w 160"/>
                <a:gd name="T67" fmla="*/ 107 h 161"/>
                <a:gd name="T68" fmla="*/ 71 w 160"/>
                <a:gd name="T69" fmla="*/ 107 h 161"/>
                <a:gd name="T70" fmla="*/ 65 w 160"/>
                <a:gd name="T71" fmla="*/ 103 h 161"/>
                <a:gd name="T72" fmla="*/ 54 w 160"/>
                <a:gd name="T73" fmla="*/ 94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0" h="161">
                  <a:moveTo>
                    <a:pt x="0" y="81"/>
                  </a:moveTo>
                  <a:cubicBezTo>
                    <a:pt x="0" y="37"/>
                    <a:pt x="35" y="1"/>
                    <a:pt x="79" y="1"/>
                  </a:cubicBezTo>
                  <a:cubicBezTo>
                    <a:pt x="123" y="0"/>
                    <a:pt x="160" y="36"/>
                    <a:pt x="160" y="80"/>
                  </a:cubicBezTo>
                  <a:cubicBezTo>
                    <a:pt x="160" y="124"/>
                    <a:pt x="124" y="160"/>
                    <a:pt x="80" y="161"/>
                  </a:cubicBezTo>
                  <a:cubicBezTo>
                    <a:pt x="35" y="161"/>
                    <a:pt x="0" y="125"/>
                    <a:pt x="0" y="81"/>
                  </a:cubicBezTo>
                  <a:close/>
                  <a:moveTo>
                    <a:pt x="54" y="94"/>
                  </a:moveTo>
                  <a:cubicBezTo>
                    <a:pt x="51" y="94"/>
                    <a:pt x="50" y="94"/>
                    <a:pt x="49" y="94"/>
                  </a:cubicBezTo>
                  <a:cubicBezTo>
                    <a:pt x="40" y="95"/>
                    <a:pt x="39" y="96"/>
                    <a:pt x="42" y="105"/>
                  </a:cubicBezTo>
                  <a:cubicBezTo>
                    <a:pt x="45" y="116"/>
                    <a:pt x="54" y="123"/>
                    <a:pt x="65" y="125"/>
                  </a:cubicBezTo>
                  <a:cubicBezTo>
                    <a:pt x="70" y="126"/>
                    <a:pt x="73" y="126"/>
                    <a:pt x="73" y="132"/>
                  </a:cubicBezTo>
                  <a:cubicBezTo>
                    <a:pt x="73" y="134"/>
                    <a:pt x="77" y="136"/>
                    <a:pt x="79" y="136"/>
                  </a:cubicBezTo>
                  <a:cubicBezTo>
                    <a:pt x="81" y="136"/>
                    <a:pt x="85" y="134"/>
                    <a:pt x="85" y="133"/>
                  </a:cubicBezTo>
                  <a:cubicBezTo>
                    <a:pt x="85" y="126"/>
                    <a:pt x="89" y="126"/>
                    <a:pt x="94" y="125"/>
                  </a:cubicBezTo>
                  <a:cubicBezTo>
                    <a:pt x="108" y="123"/>
                    <a:pt x="117" y="114"/>
                    <a:pt x="119" y="101"/>
                  </a:cubicBezTo>
                  <a:cubicBezTo>
                    <a:pt x="120" y="88"/>
                    <a:pt x="114" y="78"/>
                    <a:pt x="100" y="72"/>
                  </a:cubicBezTo>
                  <a:cubicBezTo>
                    <a:pt x="96" y="71"/>
                    <a:pt x="92" y="70"/>
                    <a:pt x="88" y="69"/>
                  </a:cubicBezTo>
                  <a:cubicBezTo>
                    <a:pt x="82" y="67"/>
                    <a:pt x="75" y="66"/>
                    <a:pt x="69" y="63"/>
                  </a:cubicBezTo>
                  <a:cubicBezTo>
                    <a:pt x="64" y="61"/>
                    <a:pt x="63" y="55"/>
                    <a:pt x="67" y="51"/>
                  </a:cubicBezTo>
                  <a:cubicBezTo>
                    <a:pt x="73" y="46"/>
                    <a:pt x="90" y="49"/>
                    <a:pt x="95" y="56"/>
                  </a:cubicBezTo>
                  <a:cubicBezTo>
                    <a:pt x="96" y="58"/>
                    <a:pt x="99" y="60"/>
                    <a:pt x="102" y="60"/>
                  </a:cubicBezTo>
                  <a:cubicBezTo>
                    <a:pt x="104" y="61"/>
                    <a:pt x="108" y="61"/>
                    <a:pt x="111" y="61"/>
                  </a:cubicBezTo>
                  <a:cubicBezTo>
                    <a:pt x="117" y="61"/>
                    <a:pt x="118" y="58"/>
                    <a:pt x="116" y="53"/>
                  </a:cubicBezTo>
                  <a:cubicBezTo>
                    <a:pt x="113" y="42"/>
                    <a:pt x="105" y="36"/>
                    <a:pt x="94" y="33"/>
                  </a:cubicBezTo>
                  <a:cubicBezTo>
                    <a:pt x="92" y="33"/>
                    <a:pt x="88" y="31"/>
                    <a:pt x="88" y="30"/>
                  </a:cubicBezTo>
                  <a:cubicBezTo>
                    <a:pt x="87" y="26"/>
                    <a:pt x="85" y="25"/>
                    <a:pt x="81" y="24"/>
                  </a:cubicBezTo>
                  <a:cubicBezTo>
                    <a:pt x="77" y="24"/>
                    <a:pt x="75" y="25"/>
                    <a:pt x="74" y="30"/>
                  </a:cubicBezTo>
                  <a:cubicBezTo>
                    <a:pt x="73" y="31"/>
                    <a:pt x="71" y="32"/>
                    <a:pt x="69" y="33"/>
                  </a:cubicBezTo>
                  <a:cubicBezTo>
                    <a:pt x="66" y="34"/>
                    <a:pt x="62" y="34"/>
                    <a:pt x="59" y="36"/>
                  </a:cubicBezTo>
                  <a:cubicBezTo>
                    <a:pt x="48" y="40"/>
                    <a:pt x="42" y="48"/>
                    <a:pt x="42" y="60"/>
                  </a:cubicBezTo>
                  <a:cubicBezTo>
                    <a:pt x="41" y="71"/>
                    <a:pt x="48" y="78"/>
                    <a:pt x="57" y="82"/>
                  </a:cubicBezTo>
                  <a:cubicBezTo>
                    <a:pt x="63" y="85"/>
                    <a:pt x="70" y="86"/>
                    <a:pt x="76" y="88"/>
                  </a:cubicBezTo>
                  <a:cubicBezTo>
                    <a:pt x="81" y="90"/>
                    <a:pt x="86" y="91"/>
                    <a:pt x="91" y="93"/>
                  </a:cubicBezTo>
                  <a:cubicBezTo>
                    <a:pt x="93" y="95"/>
                    <a:pt x="95" y="99"/>
                    <a:pt x="95" y="101"/>
                  </a:cubicBezTo>
                  <a:cubicBezTo>
                    <a:pt x="95" y="104"/>
                    <a:pt x="92" y="107"/>
                    <a:pt x="89" y="107"/>
                  </a:cubicBezTo>
                  <a:cubicBezTo>
                    <a:pt x="83" y="108"/>
                    <a:pt x="77" y="108"/>
                    <a:pt x="71" y="107"/>
                  </a:cubicBezTo>
                  <a:cubicBezTo>
                    <a:pt x="69" y="107"/>
                    <a:pt x="66" y="105"/>
                    <a:pt x="65" y="103"/>
                  </a:cubicBezTo>
                  <a:cubicBezTo>
                    <a:pt x="64" y="94"/>
                    <a:pt x="59" y="94"/>
                    <a:pt x="54" y="94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1352947" y="3828898"/>
              <a:ext cx="176212" cy="177800"/>
            </a:xfrm>
            <a:custGeom>
              <a:avLst/>
              <a:gdLst>
                <a:gd name="T0" fmla="*/ 0 w 143"/>
                <a:gd name="T1" fmla="*/ 71 h 143"/>
                <a:gd name="T2" fmla="*/ 71 w 143"/>
                <a:gd name="T3" fmla="*/ 0 h 143"/>
                <a:gd name="T4" fmla="*/ 143 w 143"/>
                <a:gd name="T5" fmla="*/ 72 h 143"/>
                <a:gd name="T6" fmla="*/ 71 w 143"/>
                <a:gd name="T7" fmla="*/ 143 h 143"/>
                <a:gd name="T8" fmla="*/ 0 w 143"/>
                <a:gd name="T9" fmla="*/ 71 h 143"/>
                <a:gd name="T10" fmla="*/ 38 w 143"/>
                <a:gd name="T11" fmla="*/ 84 h 143"/>
                <a:gd name="T12" fmla="*/ 93 w 143"/>
                <a:gd name="T13" fmla="*/ 114 h 143"/>
                <a:gd name="T14" fmla="*/ 99 w 143"/>
                <a:gd name="T15" fmla="*/ 103 h 143"/>
                <a:gd name="T16" fmla="*/ 89 w 143"/>
                <a:gd name="T17" fmla="*/ 98 h 143"/>
                <a:gd name="T18" fmla="*/ 73 w 143"/>
                <a:gd name="T19" fmla="*/ 98 h 143"/>
                <a:gd name="T20" fmla="*/ 61 w 143"/>
                <a:gd name="T21" fmla="*/ 83 h 143"/>
                <a:gd name="T22" fmla="*/ 85 w 143"/>
                <a:gd name="T23" fmla="*/ 83 h 143"/>
                <a:gd name="T24" fmla="*/ 93 w 143"/>
                <a:gd name="T25" fmla="*/ 79 h 143"/>
                <a:gd name="T26" fmla="*/ 85 w 143"/>
                <a:gd name="T27" fmla="*/ 74 h 143"/>
                <a:gd name="T28" fmla="*/ 63 w 143"/>
                <a:gd name="T29" fmla="*/ 74 h 143"/>
                <a:gd name="T30" fmla="*/ 58 w 143"/>
                <a:gd name="T31" fmla="*/ 71 h 143"/>
                <a:gd name="T32" fmla="*/ 59 w 143"/>
                <a:gd name="T33" fmla="*/ 69 h 143"/>
                <a:gd name="T34" fmla="*/ 86 w 143"/>
                <a:gd name="T35" fmla="*/ 69 h 143"/>
                <a:gd name="T36" fmla="*/ 93 w 143"/>
                <a:gd name="T37" fmla="*/ 63 h 143"/>
                <a:gd name="T38" fmla="*/ 86 w 143"/>
                <a:gd name="T39" fmla="*/ 57 h 143"/>
                <a:gd name="T40" fmla="*/ 61 w 143"/>
                <a:gd name="T41" fmla="*/ 57 h 143"/>
                <a:gd name="T42" fmla="*/ 62 w 143"/>
                <a:gd name="T43" fmla="*/ 53 h 143"/>
                <a:gd name="T44" fmla="*/ 90 w 143"/>
                <a:gd name="T45" fmla="*/ 44 h 143"/>
                <a:gd name="T46" fmla="*/ 98 w 143"/>
                <a:gd name="T47" fmla="*/ 38 h 143"/>
                <a:gd name="T48" fmla="*/ 94 w 143"/>
                <a:gd name="T49" fmla="*/ 29 h 143"/>
                <a:gd name="T50" fmla="*/ 69 w 143"/>
                <a:gd name="T51" fmla="*/ 28 h 143"/>
                <a:gd name="T52" fmla="*/ 40 w 143"/>
                <a:gd name="T53" fmla="*/ 56 h 143"/>
                <a:gd name="T54" fmla="*/ 37 w 143"/>
                <a:gd name="T55" fmla="*/ 57 h 143"/>
                <a:gd name="T56" fmla="*/ 30 w 143"/>
                <a:gd name="T57" fmla="*/ 62 h 143"/>
                <a:gd name="T58" fmla="*/ 36 w 143"/>
                <a:gd name="T59" fmla="*/ 69 h 143"/>
                <a:gd name="T60" fmla="*/ 38 w 143"/>
                <a:gd name="T61" fmla="*/ 72 h 143"/>
                <a:gd name="T62" fmla="*/ 30 w 143"/>
                <a:gd name="T63" fmla="*/ 79 h 143"/>
                <a:gd name="T64" fmla="*/ 38 w 143"/>
                <a:gd name="T65" fmla="*/ 8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143">
                  <a:moveTo>
                    <a:pt x="0" y="71"/>
                  </a:moveTo>
                  <a:cubicBezTo>
                    <a:pt x="0" y="32"/>
                    <a:pt x="32" y="0"/>
                    <a:pt x="71" y="0"/>
                  </a:cubicBezTo>
                  <a:cubicBezTo>
                    <a:pt x="111" y="0"/>
                    <a:pt x="143" y="32"/>
                    <a:pt x="143" y="72"/>
                  </a:cubicBezTo>
                  <a:cubicBezTo>
                    <a:pt x="143" y="111"/>
                    <a:pt x="110" y="143"/>
                    <a:pt x="71" y="143"/>
                  </a:cubicBezTo>
                  <a:cubicBezTo>
                    <a:pt x="32" y="143"/>
                    <a:pt x="0" y="111"/>
                    <a:pt x="0" y="71"/>
                  </a:cubicBezTo>
                  <a:close/>
                  <a:moveTo>
                    <a:pt x="38" y="84"/>
                  </a:moveTo>
                  <a:cubicBezTo>
                    <a:pt x="45" y="109"/>
                    <a:pt x="69" y="121"/>
                    <a:pt x="93" y="114"/>
                  </a:cubicBezTo>
                  <a:cubicBezTo>
                    <a:pt x="99" y="112"/>
                    <a:pt x="100" y="110"/>
                    <a:pt x="99" y="103"/>
                  </a:cubicBezTo>
                  <a:cubicBezTo>
                    <a:pt x="97" y="96"/>
                    <a:pt x="94" y="98"/>
                    <a:pt x="89" y="98"/>
                  </a:cubicBezTo>
                  <a:cubicBezTo>
                    <a:pt x="84" y="99"/>
                    <a:pt x="78" y="99"/>
                    <a:pt x="73" y="98"/>
                  </a:cubicBezTo>
                  <a:cubicBezTo>
                    <a:pt x="66" y="96"/>
                    <a:pt x="62" y="91"/>
                    <a:pt x="61" y="83"/>
                  </a:cubicBezTo>
                  <a:cubicBezTo>
                    <a:pt x="69" y="83"/>
                    <a:pt x="77" y="83"/>
                    <a:pt x="85" y="83"/>
                  </a:cubicBezTo>
                  <a:cubicBezTo>
                    <a:pt x="88" y="83"/>
                    <a:pt x="93" y="85"/>
                    <a:pt x="93" y="79"/>
                  </a:cubicBezTo>
                  <a:cubicBezTo>
                    <a:pt x="93" y="72"/>
                    <a:pt x="88" y="74"/>
                    <a:pt x="85" y="74"/>
                  </a:cubicBezTo>
                  <a:cubicBezTo>
                    <a:pt x="77" y="74"/>
                    <a:pt x="70" y="74"/>
                    <a:pt x="63" y="74"/>
                  </a:cubicBezTo>
                  <a:cubicBezTo>
                    <a:pt x="61" y="74"/>
                    <a:pt x="60" y="72"/>
                    <a:pt x="58" y="71"/>
                  </a:cubicBezTo>
                  <a:cubicBezTo>
                    <a:pt x="59" y="70"/>
                    <a:pt x="59" y="69"/>
                    <a:pt x="59" y="69"/>
                  </a:cubicBezTo>
                  <a:cubicBezTo>
                    <a:pt x="68" y="69"/>
                    <a:pt x="77" y="68"/>
                    <a:pt x="86" y="69"/>
                  </a:cubicBezTo>
                  <a:cubicBezTo>
                    <a:pt x="91" y="69"/>
                    <a:pt x="93" y="68"/>
                    <a:pt x="93" y="63"/>
                  </a:cubicBezTo>
                  <a:cubicBezTo>
                    <a:pt x="93" y="58"/>
                    <a:pt x="91" y="57"/>
                    <a:pt x="86" y="57"/>
                  </a:cubicBezTo>
                  <a:cubicBezTo>
                    <a:pt x="78" y="57"/>
                    <a:pt x="70" y="57"/>
                    <a:pt x="61" y="57"/>
                  </a:cubicBezTo>
                  <a:cubicBezTo>
                    <a:pt x="62" y="55"/>
                    <a:pt x="62" y="54"/>
                    <a:pt x="62" y="53"/>
                  </a:cubicBezTo>
                  <a:cubicBezTo>
                    <a:pt x="67" y="44"/>
                    <a:pt x="76" y="40"/>
                    <a:pt x="90" y="44"/>
                  </a:cubicBezTo>
                  <a:cubicBezTo>
                    <a:pt x="96" y="45"/>
                    <a:pt x="97" y="42"/>
                    <a:pt x="98" y="38"/>
                  </a:cubicBezTo>
                  <a:cubicBezTo>
                    <a:pt x="99" y="34"/>
                    <a:pt x="100" y="29"/>
                    <a:pt x="94" y="29"/>
                  </a:cubicBezTo>
                  <a:cubicBezTo>
                    <a:pt x="86" y="28"/>
                    <a:pt x="77" y="27"/>
                    <a:pt x="69" y="28"/>
                  </a:cubicBezTo>
                  <a:cubicBezTo>
                    <a:pt x="53" y="30"/>
                    <a:pt x="45" y="42"/>
                    <a:pt x="40" y="56"/>
                  </a:cubicBezTo>
                  <a:cubicBezTo>
                    <a:pt x="39" y="57"/>
                    <a:pt x="38" y="57"/>
                    <a:pt x="37" y="57"/>
                  </a:cubicBezTo>
                  <a:cubicBezTo>
                    <a:pt x="33" y="57"/>
                    <a:pt x="30" y="58"/>
                    <a:pt x="30" y="62"/>
                  </a:cubicBezTo>
                  <a:cubicBezTo>
                    <a:pt x="30" y="65"/>
                    <a:pt x="34" y="66"/>
                    <a:pt x="36" y="69"/>
                  </a:cubicBezTo>
                  <a:cubicBezTo>
                    <a:pt x="37" y="70"/>
                    <a:pt x="38" y="71"/>
                    <a:pt x="38" y="72"/>
                  </a:cubicBezTo>
                  <a:cubicBezTo>
                    <a:pt x="35" y="75"/>
                    <a:pt x="32" y="77"/>
                    <a:pt x="30" y="79"/>
                  </a:cubicBezTo>
                  <a:cubicBezTo>
                    <a:pt x="32" y="81"/>
                    <a:pt x="35" y="83"/>
                    <a:pt x="38" y="84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1546622" y="3744760"/>
              <a:ext cx="163512" cy="163513"/>
            </a:xfrm>
            <a:custGeom>
              <a:avLst/>
              <a:gdLst>
                <a:gd name="T0" fmla="*/ 0 w 132"/>
                <a:gd name="T1" fmla="*/ 66 h 132"/>
                <a:gd name="T2" fmla="*/ 67 w 132"/>
                <a:gd name="T3" fmla="*/ 0 h 132"/>
                <a:gd name="T4" fmla="*/ 132 w 132"/>
                <a:gd name="T5" fmla="*/ 65 h 132"/>
                <a:gd name="T6" fmla="*/ 65 w 132"/>
                <a:gd name="T7" fmla="*/ 132 h 132"/>
                <a:gd name="T8" fmla="*/ 0 w 132"/>
                <a:gd name="T9" fmla="*/ 66 h 132"/>
                <a:gd name="T10" fmla="*/ 67 w 132"/>
                <a:gd name="T11" fmla="*/ 56 h 132"/>
                <a:gd name="T12" fmla="*/ 80 w 132"/>
                <a:gd name="T13" fmla="*/ 40 h 132"/>
                <a:gd name="T14" fmla="*/ 81 w 132"/>
                <a:gd name="T15" fmla="*/ 40 h 132"/>
                <a:gd name="T16" fmla="*/ 86 w 132"/>
                <a:gd name="T17" fmla="*/ 34 h 132"/>
                <a:gd name="T18" fmla="*/ 83 w 132"/>
                <a:gd name="T19" fmla="*/ 28 h 132"/>
                <a:gd name="T20" fmla="*/ 50 w 132"/>
                <a:gd name="T21" fmla="*/ 52 h 132"/>
                <a:gd name="T22" fmla="*/ 50 w 132"/>
                <a:gd name="T23" fmla="*/ 57 h 132"/>
                <a:gd name="T24" fmla="*/ 48 w 132"/>
                <a:gd name="T25" fmla="*/ 55 h 132"/>
                <a:gd name="T26" fmla="*/ 42 w 132"/>
                <a:gd name="T27" fmla="*/ 63 h 132"/>
                <a:gd name="T28" fmla="*/ 53 w 132"/>
                <a:gd name="T29" fmla="*/ 70 h 132"/>
                <a:gd name="T30" fmla="*/ 45 w 132"/>
                <a:gd name="T31" fmla="*/ 88 h 132"/>
                <a:gd name="T32" fmla="*/ 42 w 132"/>
                <a:gd name="T33" fmla="*/ 98 h 132"/>
                <a:gd name="T34" fmla="*/ 48 w 132"/>
                <a:gd name="T35" fmla="*/ 100 h 132"/>
                <a:gd name="T36" fmla="*/ 84 w 132"/>
                <a:gd name="T37" fmla="*/ 100 h 132"/>
                <a:gd name="T38" fmla="*/ 91 w 132"/>
                <a:gd name="T39" fmla="*/ 92 h 132"/>
                <a:gd name="T40" fmla="*/ 84 w 132"/>
                <a:gd name="T41" fmla="*/ 86 h 132"/>
                <a:gd name="T42" fmla="*/ 63 w 132"/>
                <a:gd name="T43" fmla="*/ 86 h 132"/>
                <a:gd name="T44" fmla="*/ 69 w 132"/>
                <a:gd name="T45" fmla="*/ 70 h 132"/>
                <a:gd name="T46" fmla="*/ 82 w 132"/>
                <a:gd name="T47" fmla="*/ 63 h 132"/>
                <a:gd name="T48" fmla="*/ 67 w 132"/>
                <a:gd name="T49" fmla="*/ 5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2" h="132">
                  <a:moveTo>
                    <a:pt x="0" y="66"/>
                  </a:moveTo>
                  <a:cubicBezTo>
                    <a:pt x="0" y="29"/>
                    <a:pt x="30" y="0"/>
                    <a:pt x="67" y="0"/>
                  </a:cubicBezTo>
                  <a:cubicBezTo>
                    <a:pt x="102" y="0"/>
                    <a:pt x="132" y="30"/>
                    <a:pt x="132" y="65"/>
                  </a:cubicBezTo>
                  <a:cubicBezTo>
                    <a:pt x="132" y="103"/>
                    <a:pt x="103" y="132"/>
                    <a:pt x="65" y="132"/>
                  </a:cubicBezTo>
                  <a:cubicBezTo>
                    <a:pt x="30" y="132"/>
                    <a:pt x="0" y="102"/>
                    <a:pt x="0" y="66"/>
                  </a:cubicBezTo>
                  <a:close/>
                  <a:moveTo>
                    <a:pt x="67" y="56"/>
                  </a:moveTo>
                  <a:cubicBezTo>
                    <a:pt x="64" y="43"/>
                    <a:pt x="67" y="39"/>
                    <a:pt x="80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6" y="41"/>
                    <a:pt x="87" y="37"/>
                    <a:pt x="86" y="34"/>
                  </a:cubicBezTo>
                  <a:cubicBezTo>
                    <a:pt x="86" y="32"/>
                    <a:pt x="85" y="28"/>
                    <a:pt x="83" y="28"/>
                  </a:cubicBezTo>
                  <a:cubicBezTo>
                    <a:pt x="65" y="23"/>
                    <a:pt x="48" y="32"/>
                    <a:pt x="50" y="52"/>
                  </a:cubicBezTo>
                  <a:cubicBezTo>
                    <a:pt x="50" y="53"/>
                    <a:pt x="50" y="55"/>
                    <a:pt x="50" y="57"/>
                  </a:cubicBezTo>
                  <a:cubicBezTo>
                    <a:pt x="49" y="56"/>
                    <a:pt x="49" y="56"/>
                    <a:pt x="48" y="55"/>
                  </a:cubicBezTo>
                  <a:cubicBezTo>
                    <a:pt x="46" y="58"/>
                    <a:pt x="42" y="60"/>
                    <a:pt x="42" y="63"/>
                  </a:cubicBezTo>
                  <a:cubicBezTo>
                    <a:pt x="40" y="72"/>
                    <a:pt x="49" y="67"/>
                    <a:pt x="53" y="70"/>
                  </a:cubicBezTo>
                  <a:cubicBezTo>
                    <a:pt x="54" y="78"/>
                    <a:pt x="50" y="83"/>
                    <a:pt x="45" y="88"/>
                  </a:cubicBezTo>
                  <a:cubicBezTo>
                    <a:pt x="42" y="90"/>
                    <a:pt x="42" y="95"/>
                    <a:pt x="42" y="98"/>
                  </a:cubicBezTo>
                  <a:cubicBezTo>
                    <a:pt x="42" y="99"/>
                    <a:pt x="46" y="100"/>
                    <a:pt x="48" y="100"/>
                  </a:cubicBezTo>
                  <a:cubicBezTo>
                    <a:pt x="60" y="101"/>
                    <a:pt x="72" y="100"/>
                    <a:pt x="84" y="100"/>
                  </a:cubicBezTo>
                  <a:cubicBezTo>
                    <a:pt x="91" y="101"/>
                    <a:pt x="90" y="96"/>
                    <a:pt x="91" y="92"/>
                  </a:cubicBezTo>
                  <a:cubicBezTo>
                    <a:pt x="91" y="87"/>
                    <a:pt x="89" y="85"/>
                    <a:pt x="84" y="86"/>
                  </a:cubicBezTo>
                  <a:cubicBezTo>
                    <a:pt x="77" y="86"/>
                    <a:pt x="70" y="86"/>
                    <a:pt x="63" y="86"/>
                  </a:cubicBezTo>
                  <a:cubicBezTo>
                    <a:pt x="65" y="80"/>
                    <a:pt x="67" y="75"/>
                    <a:pt x="69" y="70"/>
                  </a:cubicBezTo>
                  <a:cubicBezTo>
                    <a:pt x="73" y="66"/>
                    <a:pt x="82" y="74"/>
                    <a:pt x="82" y="63"/>
                  </a:cubicBezTo>
                  <a:cubicBezTo>
                    <a:pt x="81" y="52"/>
                    <a:pt x="72" y="60"/>
                    <a:pt x="67" y="56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1" name="Freeform 10"/>
            <p:cNvSpPr>
              <a:spLocks noEditPoints="1"/>
            </p:cNvSpPr>
            <p:nvPr/>
          </p:nvSpPr>
          <p:spPr bwMode="auto">
            <a:xfrm>
              <a:off x="1435497" y="3612998"/>
              <a:ext cx="141287" cy="142875"/>
            </a:xfrm>
            <a:custGeom>
              <a:avLst/>
              <a:gdLst>
                <a:gd name="T0" fmla="*/ 114 w 114"/>
                <a:gd name="T1" fmla="*/ 58 h 115"/>
                <a:gd name="T2" fmla="*/ 57 w 114"/>
                <a:gd name="T3" fmla="*/ 115 h 115"/>
                <a:gd name="T4" fmla="*/ 0 w 114"/>
                <a:gd name="T5" fmla="*/ 57 h 115"/>
                <a:gd name="T6" fmla="*/ 57 w 114"/>
                <a:gd name="T7" fmla="*/ 0 h 115"/>
                <a:gd name="T8" fmla="*/ 114 w 114"/>
                <a:gd name="T9" fmla="*/ 58 h 115"/>
                <a:gd name="T10" fmla="*/ 29 w 114"/>
                <a:gd name="T11" fmla="*/ 24 h 115"/>
                <a:gd name="T12" fmla="*/ 40 w 114"/>
                <a:gd name="T13" fmla="*/ 44 h 115"/>
                <a:gd name="T14" fmla="*/ 35 w 114"/>
                <a:gd name="T15" fmla="*/ 55 h 115"/>
                <a:gd name="T16" fmla="*/ 32 w 114"/>
                <a:gd name="T17" fmla="*/ 57 h 115"/>
                <a:gd name="T18" fmla="*/ 35 w 114"/>
                <a:gd name="T19" fmla="*/ 60 h 115"/>
                <a:gd name="T20" fmla="*/ 45 w 114"/>
                <a:gd name="T21" fmla="*/ 61 h 115"/>
                <a:gd name="T22" fmla="*/ 48 w 114"/>
                <a:gd name="T23" fmla="*/ 65 h 115"/>
                <a:gd name="T24" fmla="*/ 45 w 114"/>
                <a:gd name="T25" fmla="*/ 69 h 115"/>
                <a:gd name="T26" fmla="*/ 37 w 114"/>
                <a:gd name="T27" fmla="*/ 69 h 115"/>
                <a:gd name="T28" fmla="*/ 32 w 114"/>
                <a:gd name="T29" fmla="*/ 72 h 115"/>
                <a:gd name="T30" fmla="*/ 37 w 114"/>
                <a:gd name="T31" fmla="*/ 75 h 115"/>
                <a:gd name="T32" fmla="*/ 49 w 114"/>
                <a:gd name="T33" fmla="*/ 87 h 115"/>
                <a:gd name="T34" fmla="*/ 49 w 114"/>
                <a:gd name="T35" fmla="*/ 89 h 115"/>
                <a:gd name="T36" fmla="*/ 57 w 114"/>
                <a:gd name="T37" fmla="*/ 95 h 115"/>
                <a:gd name="T38" fmla="*/ 66 w 114"/>
                <a:gd name="T39" fmla="*/ 89 h 115"/>
                <a:gd name="T40" fmla="*/ 67 w 114"/>
                <a:gd name="T41" fmla="*/ 77 h 115"/>
                <a:gd name="T42" fmla="*/ 80 w 114"/>
                <a:gd name="T43" fmla="*/ 75 h 115"/>
                <a:gd name="T44" fmla="*/ 83 w 114"/>
                <a:gd name="T45" fmla="*/ 72 h 115"/>
                <a:gd name="T46" fmla="*/ 80 w 114"/>
                <a:gd name="T47" fmla="*/ 69 h 115"/>
                <a:gd name="T48" fmla="*/ 70 w 114"/>
                <a:gd name="T49" fmla="*/ 69 h 115"/>
                <a:gd name="T50" fmla="*/ 66 w 114"/>
                <a:gd name="T51" fmla="*/ 65 h 115"/>
                <a:gd name="T52" fmla="*/ 70 w 114"/>
                <a:gd name="T53" fmla="*/ 61 h 115"/>
                <a:gd name="T54" fmla="*/ 79 w 114"/>
                <a:gd name="T55" fmla="*/ 60 h 115"/>
                <a:gd name="T56" fmla="*/ 83 w 114"/>
                <a:gd name="T57" fmla="*/ 58 h 115"/>
                <a:gd name="T58" fmla="*/ 79 w 114"/>
                <a:gd name="T59" fmla="*/ 55 h 115"/>
                <a:gd name="T60" fmla="*/ 75 w 114"/>
                <a:gd name="T61" fmla="*/ 45 h 115"/>
                <a:gd name="T62" fmla="*/ 87 w 114"/>
                <a:gd name="T63" fmla="*/ 25 h 115"/>
                <a:gd name="T64" fmla="*/ 66 w 114"/>
                <a:gd name="T65" fmla="*/ 32 h 115"/>
                <a:gd name="T66" fmla="*/ 58 w 114"/>
                <a:gd name="T67" fmla="*/ 51 h 115"/>
                <a:gd name="T68" fmla="*/ 50 w 114"/>
                <a:gd name="T69" fmla="*/ 33 h 115"/>
                <a:gd name="T70" fmla="*/ 29 w 114"/>
                <a:gd name="T71" fmla="*/ 2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5">
                  <a:moveTo>
                    <a:pt x="114" y="58"/>
                  </a:moveTo>
                  <a:cubicBezTo>
                    <a:pt x="114" y="89"/>
                    <a:pt x="89" y="115"/>
                    <a:pt x="57" y="115"/>
                  </a:cubicBezTo>
                  <a:cubicBezTo>
                    <a:pt x="25" y="114"/>
                    <a:pt x="0" y="89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89" y="0"/>
                    <a:pt x="114" y="26"/>
                    <a:pt x="114" y="58"/>
                  </a:cubicBezTo>
                  <a:close/>
                  <a:moveTo>
                    <a:pt x="29" y="24"/>
                  </a:moveTo>
                  <a:cubicBezTo>
                    <a:pt x="33" y="31"/>
                    <a:pt x="36" y="38"/>
                    <a:pt x="40" y="44"/>
                  </a:cubicBezTo>
                  <a:cubicBezTo>
                    <a:pt x="45" y="53"/>
                    <a:pt x="45" y="53"/>
                    <a:pt x="35" y="55"/>
                  </a:cubicBezTo>
                  <a:cubicBezTo>
                    <a:pt x="34" y="55"/>
                    <a:pt x="33" y="56"/>
                    <a:pt x="32" y="57"/>
                  </a:cubicBezTo>
                  <a:cubicBezTo>
                    <a:pt x="33" y="58"/>
                    <a:pt x="34" y="60"/>
                    <a:pt x="35" y="60"/>
                  </a:cubicBezTo>
                  <a:cubicBezTo>
                    <a:pt x="38" y="61"/>
                    <a:pt x="42" y="60"/>
                    <a:pt x="45" y="61"/>
                  </a:cubicBezTo>
                  <a:cubicBezTo>
                    <a:pt x="46" y="61"/>
                    <a:pt x="48" y="63"/>
                    <a:pt x="48" y="65"/>
                  </a:cubicBezTo>
                  <a:cubicBezTo>
                    <a:pt x="48" y="66"/>
                    <a:pt x="46" y="68"/>
                    <a:pt x="45" y="69"/>
                  </a:cubicBezTo>
                  <a:cubicBezTo>
                    <a:pt x="42" y="69"/>
                    <a:pt x="39" y="68"/>
                    <a:pt x="37" y="69"/>
                  </a:cubicBezTo>
                  <a:cubicBezTo>
                    <a:pt x="35" y="69"/>
                    <a:pt x="33" y="71"/>
                    <a:pt x="32" y="72"/>
                  </a:cubicBezTo>
                  <a:cubicBezTo>
                    <a:pt x="33" y="73"/>
                    <a:pt x="35" y="75"/>
                    <a:pt x="37" y="75"/>
                  </a:cubicBezTo>
                  <a:cubicBezTo>
                    <a:pt x="48" y="75"/>
                    <a:pt x="48" y="75"/>
                    <a:pt x="49" y="87"/>
                  </a:cubicBezTo>
                  <a:cubicBezTo>
                    <a:pt x="49" y="88"/>
                    <a:pt x="49" y="88"/>
                    <a:pt x="49" y="89"/>
                  </a:cubicBezTo>
                  <a:cubicBezTo>
                    <a:pt x="48" y="94"/>
                    <a:pt x="52" y="95"/>
                    <a:pt x="57" y="95"/>
                  </a:cubicBezTo>
                  <a:cubicBezTo>
                    <a:pt x="61" y="95"/>
                    <a:pt x="66" y="95"/>
                    <a:pt x="66" y="89"/>
                  </a:cubicBezTo>
                  <a:cubicBezTo>
                    <a:pt x="66" y="85"/>
                    <a:pt x="65" y="79"/>
                    <a:pt x="67" y="77"/>
                  </a:cubicBezTo>
                  <a:cubicBezTo>
                    <a:pt x="70" y="74"/>
                    <a:pt x="75" y="75"/>
                    <a:pt x="80" y="75"/>
                  </a:cubicBezTo>
                  <a:cubicBezTo>
                    <a:pt x="81" y="74"/>
                    <a:pt x="82" y="73"/>
                    <a:pt x="83" y="72"/>
                  </a:cubicBezTo>
                  <a:cubicBezTo>
                    <a:pt x="82" y="71"/>
                    <a:pt x="81" y="69"/>
                    <a:pt x="80" y="69"/>
                  </a:cubicBezTo>
                  <a:cubicBezTo>
                    <a:pt x="77" y="69"/>
                    <a:pt x="73" y="69"/>
                    <a:pt x="70" y="69"/>
                  </a:cubicBezTo>
                  <a:cubicBezTo>
                    <a:pt x="69" y="68"/>
                    <a:pt x="67" y="66"/>
                    <a:pt x="66" y="65"/>
                  </a:cubicBezTo>
                  <a:cubicBezTo>
                    <a:pt x="67" y="63"/>
                    <a:pt x="69" y="61"/>
                    <a:pt x="70" y="61"/>
                  </a:cubicBezTo>
                  <a:cubicBezTo>
                    <a:pt x="73" y="60"/>
                    <a:pt x="76" y="61"/>
                    <a:pt x="79" y="60"/>
                  </a:cubicBezTo>
                  <a:cubicBezTo>
                    <a:pt x="80" y="60"/>
                    <a:pt x="82" y="59"/>
                    <a:pt x="83" y="58"/>
                  </a:cubicBezTo>
                  <a:cubicBezTo>
                    <a:pt x="82" y="57"/>
                    <a:pt x="81" y="55"/>
                    <a:pt x="79" y="55"/>
                  </a:cubicBezTo>
                  <a:cubicBezTo>
                    <a:pt x="70" y="53"/>
                    <a:pt x="70" y="53"/>
                    <a:pt x="75" y="45"/>
                  </a:cubicBezTo>
                  <a:cubicBezTo>
                    <a:pt x="79" y="38"/>
                    <a:pt x="83" y="32"/>
                    <a:pt x="87" y="25"/>
                  </a:cubicBezTo>
                  <a:cubicBezTo>
                    <a:pt x="74" y="21"/>
                    <a:pt x="71" y="22"/>
                    <a:pt x="66" y="32"/>
                  </a:cubicBezTo>
                  <a:cubicBezTo>
                    <a:pt x="64" y="38"/>
                    <a:pt x="61" y="44"/>
                    <a:pt x="58" y="51"/>
                  </a:cubicBezTo>
                  <a:cubicBezTo>
                    <a:pt x="55" y="44"/>
                    <a:pt x="53" y="39"/>
                    <a:pt x="50" y="33"/>
                  </a:cubicBezTo>
                  <a:cubicBezTo>
                    <a:pt x="45" y="22"/>
                    <a:pt x="44" y="21"/>
                    <a:pt x="29" y="24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0309411" y="5400379"/>
            <a:ext cx="661988" cy="1377950"/>
            <a:chOff x="1039813" y="5138738"/>
            <a:chExt cx="661988" cy="1377950"/>
          </a:xfrm>
        </p:grpSpPr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1241426" y="5138738"/>
              <a:ext cx="460375" cy="1377950"/>
            </a:xfrm>
            <a:custGeom>
              <a:avLst/>
              <a:gdLst>
                <a:gd name="T0" fmla="*/ 53 w 212"/>
                <a:gd name="T1" fmla="*/ 56 h 636"/>
                <a:gd name="T2" fmla="*/ 60 w 212"/>
                <a:gd name="T3" fmla="*/ 83 h 636"/>
                <a:gd name="T4" fmla="*/ 103 w 212"/>
                <a:gd name="T5" fmla="*/ 142 h 636"/>
                <a:gd name="T6" fmla="*/ 156 w 212"/>
                <a:gd name="T7" fmla="*/ 187 h 636"/>
                <a:gd name="T8" fmla="*/ 208 w 212"/>
                <a:gd name="T9" fmla="*/ 288 h 636"/>
                <a:gd name="T10" fmla="*/ 201 w 212"/>
                <a:gd name="T11" fmla="*/ 391 h 636"/>
                <a:gd name="T12" fmla="*/ 146 w 212"/>
                <a:gd name="T13" fmla="*/ 475 h 636"/>
                <a:gd name="T14" fmla="*/ 101 w 212"/>
                <a:gd name="T15" fmla="*/ 511 h 636"/>
                <a:gd name="T16" fmla="*/ 56 w 212"/>
                <a:gd name="T17" fmla="*/ 604 h 636"/>
                <a:gd name="T18" fmla="*/ 55 w 212"/>
                <a:gd name="T19" fmla="*/ 625 h 636"/>
                <a:gd name="T20" fmla="*/ 44 w 212"/>
                <a:gd name="T21" fmla="*/ 636 h 636"/>
                <a:gd name="T22" fmla="*/ 33 w 212"/>
                <a:gd name="T23" fmla="*/ 625 h 636"/>
                <a:gd name="T24" fmla="*/ 98 w 212"/>
                <a:gd name="T25" fmla="*/ 485 h 636"/>
                <a:gd name="T26" fmla="*/ 135 w 212"/>
                <a:gd name="T27" fmla="*/ 455 h 636"/>
                <a:gd name="T28" fmla="*/ 186 w 212"/>
                <a:gd name="T29" fmla="*/ 359 h 636"/>
                <a:gd name="T30" fmla="*/ 183 w 212"/>
                <a:gd name="T31" fmla="*/ 274 h 636"/>
                <a:gd name="T32" fmla="*/ 126 w 212"/>
                <a:gd name="T33" fmla="*/ 189 h 636"/>
                <a:gd name="T34" fmla="*/ 73 w 212"/>
                <a:gd name="T35" fmla="*/ 144 h 636"/>
                <a:gd name="T36" fmla="*/ 33 w 212"/>
                <a:gd name="T37" fmla="*/ 61 h 636"/>
                <a:gd name="T38" fmla="*/ 27 w 212"/>
                <a:gd name="T39" fmla="*/ 56 h 636"/>
                <a:gd name="T40" fmla="*/ 7 w 212"/>
                <a:gd name="T41" fmla="*/ 56 h 636"/>
                <a:gd name="T42" fmla="*/ 1 w 212"/>
                <a:gd name="T43" fmla="*/ 52 h 636"/>
                <a:gd name="T44" fmla="*/ 2 w 212"/>
                <a:gd name="T45" fmla="*/ 44 h 636"/>
                <a:gd name="T46" fmla="*/ 37 w 212"/>
                <a:gd name="T47" fmla="*/ 4 h 636"/>
                <a:gd name="T48" fmla="*/ 48 w 212"/>
                <a:gd name="T49" fmla="*/ 4 h 636"/>
                <a:gd name="T50" fmla="*/ 84 w 212"/>
                <a:gd name="T51" fmla="*/ 45 h 636"/>
                <a:gd name="T52" fmla="*/ 79 w 212"/>
                <a:gd name="T53" fmla="*/ 56 h 636"/>
                <a:gd name="T54" fmla="*/ 53 w 212"/>
                <a:gd name="T55" fmla="*/ 56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2" h="636">
                  <a:moveTo>
                    <a:pt x="53" y="56"/>
                  </a:moveTo>
                  <a:cubicBezTo>
                    <a:pt x="56" y="66"/>
                    <a:pt x="57" y="74"/>
                    <a:pt x="60" y="83"/>
                  </a:cubicBezTo>
                  <a:cubicBezTo>
                    <a:pt x="68" y="107"/>
                    <a:pt x="83" y="126"/>
                    <a:pt x="103" y="142"/>
                  </a:cubicBezTo>
                  <a:cubicBezTo>
                    <a:pt x="121" y="157"/>
                    <a:pt x="139" y="171"/>
                    <a:pt x="156" y="187"/>
                  </a:cubicBezTo>
                  <a:cubicBezTo>
                    <a:pt x="186" y="214"/>
                    <a:pt x="203" y="248"/>
                    <a:pt x="208" y="288"/>
                  </a:cubicBezTo>
                  <a:cubicBezTo>
                    <a:pt x="212" y="323"/>
                    <a:pt x="211" y="357"/>
                    <a:pt x="201" y="391"/>
                  </a:cubicBezTo>
                  <a:cubicBezTo>
                    <a:pt x="192" y="425"/>
                    <a:pt x="173" y="453"/>
                    <a:pt x="146" y="475"/>
                  </a:cubicBezTo>
                  <a:cubicBezTo>
                    <a:pt x="131" y="487"/>
                    <a:pt x="116" y="499"/>
                    <a:pt x="101" y="511"/>
                  </a:cubicBezTo>
                  <a:cubicBezTo>
                    <a:pt x="72" y="535"/>
                    <a:pt x="59" y="567"/>
                    <a:pt x="56" y="604"/>
                  </a:cubicBezTo>
                  <a:cubicBezTo>
                    <a:pt x="55" y="611"/>
                    <a:pt x="55" y="618"/>
                    <a:pt x="55" y="625"/>
                  </a:cubicBezTo>
                  <a:cubicBezTo>
                    <a:pt x="54" y="631"/>
                    <a:pt x="50" y="636"/>
                    <a:pt x="44" y="636"/>
                  </a:cubicBezTo>
                  <a:cubicBezTo>
                    <a:pt x="37" y="636"/>
                    <a:pt x="33" y="631"/>
                    <a:pt x="33" y="625"/>
                  </a:cubicBezTo>
                  <a:cubicBezTo>
                    <a:pt x="32" y="568"/>
                    <a:pt x="51" y="520"/>
                    <a:pt x="98" y="485"/>
                  </a:cubicBezTo>
                  <a:cubicBezTo>
                    <a:pt x="111" y="475"/>
                    <a:pt x="123" y="465"/>
                    <a:pt x="135" y="455"/>
                  </a:cubicBezTo>
                  <a:cubicBezTo>
                    <a:pt x="166" y="430"/>
                    <a:pt x="181" y="397"/>
                    <a:pt x="186" y="359"/>
                  </a:cubicBezTo>
                  <a:cubicBezTo>
                    <a:pt x="189" y="330"/>
                    <a:pt x="189" y="302"/>
                    <a:pt x="183" y="274"/>
                  </a:cubicBezTo>
                  <a:cubicBezTo>
                    <a:pt x="175" y="238"/>
                    <a:pt x="154" y="211"/>
                    <a:pt x="126" y="189"/>
                  </a:cubicBezTo>
                  <a:cubicBezTo>
                    <a:pt x="108" y="174"/>
                    <a:pt x="90" y="160"/>
                    <a:pt x="73" y="144"/>
                  </a:cubicBezTo>
                  <a:cubicBezTo>
                    <a:pt x="49" y="122"/>
                    <a:pt x="36" y="94"/>
                    <a:pt x="33" y="61"/>
                  </a:cubicBezTo>
                  <a:cubicBezTo>
                    <a:pt x="32" y="57"/>
                    <a:pt x="31" y="56"/>
                    <a:pt x="27" y="56"/>
                  </a:cubicBezTo>
                  <a:cubicBezTo>
                    <a:pt x="20" y="56"/>
                    <a:pt x="14" y="56"/>
                    <a:pt x="7" y="56"/>
                  </a:cubicBezTo>
                  <a:cubicBezTo>
                    <a:pt x="5" y="56"/>
                    <a:pt x="2" y="54"/>
                    <a:pt x="1" y="52"/>
                  </a:cubicBezTo>
                  <a:cubicBezTo>
                    <a:pt x="0" y="50"/>
                    <a:pt x="1" y="46"/>
                    <a:pt x="2" y="44"/>
                  </a:cubicBezTo>
                  <a:cubicBezTo>
                    <a:pt x="14" y="31"/>
                    <a:pt x="25" y="17"/>
                    <a:pt x="37" y="4"/>
                  </a:cubicBezTo>
                  <a:cubicBezTo>
                    <a:pt x="41" y="0"/>
                    <a:pt x="45" y="0"/>
                    <a:pt x="48" y="4"/>
                  </a:cubicBezTo>
                  <a:cubicBezTo>
                    <a:pt x="61" y="17"/>
                    <a:pt x="73" y="31"/>
                    <a:pt x="84" y="45"/>
                  </a:cubicBezTo>
                  <a:cubicBezTo>
                    <a:pt x="89" y="50"/>
                    <a:pt x="86" y="56"/>
                    <a:pt x="79" y="56"/>
                  </a:cubicBezTo>
                  <a:cubicBezTo>
                    <a:pt x="71" y="56"/>
                    <a:pt x="63" y="56"/>
                    <a:pt x="53" y="56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4" name="Freeform 15"/>
            <p:cNvSpPr>
              <a:spLocks/>
            </p:cNvSpPr>
            <p:nvPr/>
          </p:nvSpPr>
          <p:spPr bwMode="auto">
            <a:xfrm>
              <a:off x="1046163" y="5810251"/>
              <a:ext cx="238125" cy="111125"/>
            </a:xfrm>
            <a:custGeom>
              <a:avLst/>
              <a:gdLst>
                <a:gd name="T0" fmla="*/ 55 w 110"/>
                <a:gd name="T1" fmla="*/ 51 h 51"/>
                <a:gd name="T2" fmla="*/ 12 w 110"/>
                <a:gd name="T3" fmla="*/ 39 h 51"/>
                <a:gd name="T4" fmla="*/ 1 w 110"/>
                <a:gd name="T5" fmla="*/ 26 h 51"/>
                <a:gd name="T6" fmla="*/ 12 w 110"/>
                <a:gd name="T7" fmla="*/ 13 h 51"/>
                <a:gd name="T8" fmla="*/ 99 w 110"/>
                <a:gd name="T9" fmla="*/ 13 h 51"/>
                <a:gd name="T10" fmla="*/ 110 w 110"/>
                <a:gd name="T11" fmla="*/ 27 h 51"/>
                <a:gd name="T12" fmla="*/ 99 w 110"/>
                <a:gd name="T13" fmla="*/ 39 h 51"/>
                <a:gd name="T14" fmla="*/ 55 w 11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51">
                  <a:moveTo>
                    <a:pt x="55" y="51"/>
                  </a:moveTo>
                  <a:cubicBezTo>
                    <a:pt x="40" y="47"/>
                    <a:pt x="25" y="44"/>
                    <a:pt x="12" y="39"/>
                  </a:cubicBezTo>
                  <a:cubicBezTo>
                    <a:pt x="7" y="38"/>
                    <a:pt x="1" y="31"/>
                    <a:pt x="1" y="26"/>
                  </a:cubicBezTo>
                  <a:cubicBezTo>
                    <a:pt x="0" y="21"/>
                    <a:pt x="7" y="15"/>
                    <a:pt x="12" y="13"/>
                  </a:cubicBezTo>
                  <a:cubicBezTo>
                    <a:pt x="40" y="0"/>
                    <a:pt x="70" y="0"/>
                    <a:pt x="99" y="13"/>
                  </a:cubicBezTo>
                  <a:cubicBezTo>
                    <a:pt x="104" y="15"/>
                    <a:pt x="110" y="22"/>
                    <a:pt x="110" y="27"/>
                  </a:cubicBezTo>
                  <a:cubicBezTo>
                    <a:pt x="110" y="31"/>
                    <a:pt x="104" y="38"/>
                    <a:pt x="99" y="39"/>
                  </a:cubicBezTo>
                  <a:cubicBezTo>
                    <a:pt x="85" y="44"/>
                    <a:pt x="70" y="47"/>
                    <a:pt x="55" y="51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5" name="Freeform 16"/>
            <p:cNvSpPr>
              <a:spLocks/>
            </p:cNvSpPr>
            <p:nvPr/>
          </p:nvSpPr>
          <p:spPr bwMode="auto">
            <a:xfrm>
              <a:off x="1039813" y="5903913"/>
              <a:ext cx="250825" cy="88900"/>
            </a:xfrm>
            <a:custGeom>
              <a:avLst/>
              <a:gdLst>
                <a:gd name="T0" fmla="*/ 4 w 116"/>
                <a:gd name="T1" fmla="*/ 0 h 41"/>
                <a:gd name="T2" fmla="*/ 113 w 116"/>
                <a:gd name="T3" fmla="*/ 0 h 41"/>
                <a:gd name="T4" fmla="*/ 93 w 116"/>
                <a:gd name="T5" fmla="*/ 34 h 41"/>
                <a:gd name="T6" fmla="*/ 23 w 116"/>
                <a:gd name="T7" fmla="*/ 34 h 41"/>
                <a:gd name="T8" fmla="*/ 4 w 116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41">
                  <a:moveTo>
                    <a:pt x="4" y="0"/>
                  </a:moveTo>
                  <a:cubicBezTo>
                    <a:pt x="24" y="21"/>
                    <a:pt x="91" y="22"/>
                    <a:pt x="113" y="0"/>
                  </a:cubicBezTo>
                  <a:cubicBezTo>
                    <a:pt x="116" y="21"/>
                    <a:pt x="112" y="28"/>
                    <a:pt x="93" y="34"/>
                  </a:cubicBezTo>
                  <a:cubicBezTo>
                    <a:pt x="70" y="41"/>
                    <a:pt x="46" y="41"/>
                    <a:pt x="23" y="34"/>
                  </a:cubicBezTo>
                  <a:cubicBezTo>
                    <a:pt x="4" y="28"/>
                    <a:pt x="0" y="20"/>
                    <a:pt x="4" y="0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6" name="Freeform 17"/>
            <p:cNvSpPr>
              <a:spLocks/>
            </p:cNvSpPr>
            <p:nvPr/>
          </p:nvSpPr>
          <p:spPr bwMode="auto">
            <a:xfrm>
              <a:off x="1039813" y="5975351"/>
              <a:ext cx="254000" cy="88900"/>
            </a:xfrm>
            <a:custGeom>
              <a:avLst/>
              <a:gdLst>
                <a:gd name="T0" fmla="*/ 3 w 117"/>
                <a:gd name="T1" fmla="*/ 0 h 41"/>
                <a:gd name="T2" fmla="*/ 113 w 117"/>
                <a:gd name="T3" fmla="*/ 0 h 41"/>
                <a:gd name="T4" fmla="*/ 92 w 117"/>
                <a:gd name="T5" fmla="*/ 34 h 41"/>
                <a:gd name="T6" fmla="*/ 24 w 117"/>
                <a:gd name="T7" fmla="*/ 34 h 41"/>
                <a:gd name="T8" fmla="*/ 3 w 117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" h="41">
                  <a:moveTo>
                    <a:pt x="3" y="0"/>
                  </a:moveTo>
                  <a:cubicBezTo>
                    <a:pt x="26" y="23"/>
                    <a:pt x="93" y="21"/>
                    <a:pt x="113" y="0"/>
                  </a:cubicBezTo>
                  <a:cubicBezTo>
                    <a:pt x="117" y="21"/>
                    <a:pt x="112" y="28"/>
                    <a:pt x="92" y="34"/>
                  </a:cubicBezTo>
                  <a:cubicBezTo>
                    <a:pt x="69" y="41"/>
                    <a:pt x="46" y="41"/>
                    <a:pt x="24" y="34"/>
                  </a:cubicBezTo>
                  <a:cubicBezTo>
                    <a:pt x="4" y="28"/>
                    <a:pt x="0" y="21"/>
                    <a:pt x="3" y="0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7" name="Freeform 18"/>
            <p:cNvSpPr>
              <a:spLocks/>
            </p:cNvSpPr>
            <p:nvPr/>
          </p:nvSpPr>
          <p:spPr bwMode="auto">
            <a:xfrm>
              <a:off x="1039813" y="6043613"/>
              <a:ext cx="249238" cy="92075"/>
            </a:xfrm>
            <a:custGeom>
              <a:avLst/>
              <a:gdLst>
                <a:gd name="T0" fmla="*/ 114 w 115"/>
                <a:gd name="T1" fmla="*/ 0 h 42"/>
                <a:gd name="T2" fmla="*/ 89 w 115"/>
                <a:gd name="T3" fmla="*/ 36 h 42"/>
                <a:gd name="T4" fmla="*/ 25 w 115"/>
                <a:gd name="T5" fmla="*/ 36 h 42"/>
                <a:gd name="T6" fmla="*/ 3 w 115"/>
                <a:gd name="T7" fmla="*/ 1 h 42"/>
                <a:gd name="T8" fmla="*/ 58 w 115"/>
                <a:gd name="T9" fmla="*/ 17 h 42"/>
                <a:gd name="T10" fmla="*/ 114 w 115"/>
                <a:gd name="T1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5" h="42">
                  <a:moveTo>
                    <a:pt x="114" y="0"/>
                  </a:moveTo>
                  <a:cubicBezTo>
                    <a:pt x="115" y="25"/>
                    <a:pt x="111" y="31"/>
                    <a:pt x="89" y="36"/>
                  </a:cubicBezTo>
                  <a:cubicBezTo>
                    <a:pt x="67" y="42"/>
                    <a:pt x="46" y="42"/>
                    <a:pt x="25" y="36"/>
                  </a:cubicBezTo>
                  <a:cubicBezTo>
                    <a:pt x="4" y="30"/>
                    <a:pt x="0" y="23"/>
                    <a:pt x="3" y="1"/>
                  </a:cubicBezTo>
                  <a:cubicBezTo>
                    <a:pt x="19" y="15"/>
                    <a:pt x="38" y="17"/>
                    <a:pt x="58" y="17"/>
                  </a:cubicBezTo>
                  <a:cubicBezTo>
                    <a:pt x="78" y="17"/>
                    <a:pt x="97" y="15"/>
                    <a:pt x="114" y="0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8" name="Freeform 19"/>
            <p:cNvSpPr>
              <a:spLocks noEditPoints="1"/>
            </p:cNvSpPr>
            <p:nvPr/>
          </p:nvSpPr>
          <p:spPr bwMode="auto">
            <a:xfrm>
              <a:off x="1408113" y="5764213"/>
              <a:ext cx="123825" cy="141288"/>
            </a:xfrm>
            <a:custGeom>
              <a:avLst/>
              <a:gdLst>
                <a:gd name="T0" fmla="*/ 0 w 57"/>
                <a:gd name="T1" fmla="*/ 34 h 65"/>
                <a:gd name="T2" fmla="*/ 29 w 57"/>
                <a:gd name="T3" fmla="*/ 1 h 65"/>
                <a:gd name="T4" fmla="*/ 57 w 57"/>
                <a:gd name="T5" fmla="*/ 33 h 65"/>
                <a:gd name="T6" fmla="*/ 28 w 57"/>
                <a:gd name="T7" fmla="*/ 65 h 65"/>
                <a:gd name="T8" fmla="*/ 0 w 57"/>
                <a:gd name="T9" fmla="*/ 34 h 65"/>
                <a:gd name="T10" fmla="*/ 44 w 57"/>
                <a:gd name="T11" fmla="*/ 35 h 65"/>
                <a:gd name="T12" fmla="*/ 42 w 57"/>
                <a:gd name="T13" fmla="*/ 34 h 65"/>
                <a:gd name="T14" fmla="*/ 42 w 57"/>
                <a:gd name="T15" fmla="*/ 27 h 65"/>
                <a:gd name="T16" fmla="*/ 28 w 57"/>
                <a:gd name="T17" fmla="*/ 13 h 65"/>
                <a:gd name="T18" fmla="*/ 14 w 57"/>
                <a:gd name="T19" fmla="*/ 27 h 65"/>
                <a:gd name="T20" fmla="*/ 15 w 57"/>
                <a:gd name="T21" fmla="*/ 41 h 65"/>
                <a:gd name="T22" fmla="*/ 35 w 57"/>
                <a:gd name="T23" fmla="*/ 50 h 65"/>
                <a:gd name="T24" fmla="*/ 44 w 57"/>
                <a:gd name="T25" fmla="*/ 3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65">
                  <a:moveTo>
                    <a:pt x="0" y="34"/>
                  </a:moveTo>
                  <a:cubicBezTo>
                    <a:pt x="0" y="13"/>
                    <a:pt x="11" y="0"/>
                    <a:pt x="29" y="1"/>
                  </a:cubicBezTo>
                  <a:cubicBezTo>
                    <a:pt x="46" y="1"/>
                    <a:pt x="57" y="14"/>
                    <a:pt x="57" y="33"/>
                  </a:cubicBezTo>
                  <a:cubicBezTo>
                    <a:pt x="57" y="52"/>
                    <a:pt x="45" y="65"/>
                    <a:pt x="28" y="65"/>
                  </a:cubicBezTo>
                  <a:cubicBezTo>
                    <a:pt x="10" y="65"/>
                    <a:pt x="0" y="53"/>
                    <a:pt x="0" y="34"/>
                  </a:cubicBezTo>
                  <a:close/>
                  <a:moveTo>
                    <a:pt x="44" y="35"/>
                  </a:moveTo>
                  <a:cubicBezTo>
                    <a:pt x="44" y="34"/>
                    <a:pt x="43" y="34"/>
                    <a:pt x="42" y="34"/>
                  </a:cubicBezTo>
                  <a:cubicBezTo>
                    <a:pt x="42" y="32"/>
                    <a:pt x="42" y="29"/>
                    <a:pt x="42" y="27"/>
                  </a:cubicBezTo>
                  <a:cubicBezTo>
                    <a:pt x="42" y="18"/>
                    <a:pt x="36" y="13"/>
                    <a:pt x="28" y="13"/>
                  </a:cubicBezTo>
                  <a:cubicBezTo>
                    <a:pt x="20" y="13"/>
                    <a:pt x="15" y="18"/>
                    <a:pt x="14" y="27"/>
                  </a:cubicBezTo>
                  <a:cubicBezTo>
                    <a:pt x="14" y="32"/>
                    <a:pt x="14" y="36"/>
                    <a:pt x="15" y="41"/>
                  </a:cubicBezTo>
                  <a:cubicBezTo>
                    <a:pt x="16" y="51"/>
                    <a:pt x="28" y="57"/>
                    <a:pt x="35" y="50"/>
                  </a:cubicBezTo>
                  <a:cubicBezTo>
                    <a:pt x="40" y="47"/>
                    <a:pt x="41" y="40"/>
                    <a:pt x="44" y="35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9" name="Freeform 20"/>
            <p:cNvSpPr>
              <a:spLocks noEditPoints="1"/>
            </p:cNvSpPr>
            <p:nvPr/>
          </p:nvSpPr>
          <p:spPr bwMode="auto">
            <a:xfrm>
              <a:off x="1265238" y="5600701"/>
              <a:ext cx="122238" cy="138113"/>
            </a:xfrm>
            <a:custGeom>
              <a:avLst/>
              <a:gdLst>
                <a:gd name="T0" fmla="*/ 56 w 56"/>
                <a:gd name="T1" fmla="*/ 32 h 64"/>
                <a:gd name="T2" fmla="*/ 28 w 56"/>
                <a:gd name="T3" fmla="*/ 64 h 64"/>
                <a:gd name="T4" fmla="*/ 0 w 56"/>
                <a:gd name="T5" fmla="*/ 34 h 64"/>
                <a:gd name="T6" fmla="*/ 28 w 56"/>
                <a:gd name="T7" fmla="*/ 1 h 64"/>
                <a:gd name="T8" fmla="*/ 56 w 56"/>
                <a:gd name="T9" fmla="*/ 32 h 64"/>
                <a:gd name="T10" fmla="*/ 43 w 56"/>
                <a:gd name="T11" fmla="*/ 32 h 64"/>
                <a:gd name="T12" fmla="*/ 27 w 56"/>
                <a:gd name="T13" fmla="*/ 13 h 64"/>
                <a:gd name="T14" fmla="*/ 14 w 56"/>
                <a:gd name="T15" fmla="*/ 34 h 64"/>
                <a:gd name="T16" fmla="*/ 28 w 56"/>
                <a:gd name="T17" fmla="*/ 52 h 64"/>
                <a:gd name="T18" fmla="*/ 43 w 56"/>
                <a:gd name="T19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56" y="32"/>
                  </a:moveTo>
                  <a:cubicBezTo>
                    <a:pt x="56" y="52"/>
                    <a:pt x="46" y="64"/>
                    <a:pt x="28" y="64"/>
                  </a:cubicBezTo>
                  <a:cubicBezTo>
                    <a:pt x="11" y="64"/>
                    <a:pt x="0" y="52"/>
                    <a:pt x="0" y="34"/>
                  </a:cubicBezTo>
                  <a:cubicBezTo>
                    <a:pt x="0" y="13"/>
                    <a:pt x="10" y="1"/>
                    <a:pt x="28" y="1"/>
                  </a:cubicBezTo>
                  <a:cubicBezTo>
                    <a:pt x="46" y="0"/>
                    <a:pt x="56" y="12"/>
                    <a:pt x="56" y="32"/>
                  </a:cubicBezTo>
                  <a:close/>
                  <a:moveTo>
                    <a:pt x="43" y="32"/>
                  </a:moveTo>
                  <a:cubicBezTo>
                    <a:pt x="42" y="18"/>
                    <a:pt x="38" y="12"/>
                    <a:pt x="27" y="13"/>
                  </a:cubicBezTo>
                  <a:cubicBezTo>
                    <a:pt x="18" y="14"/>
                    <a:pt x="14" y="21"/>
                    <a:pt x="14" y="34"/>
                  </a:cubicBezTo>
                  <a:cubicBezTo>
                    <a:pt x="14" y="46"/>
                    <a:pt x="19" y="52"/>
                    <a:pt x="28" y="52"/>
                  </a:cubicBezTo>
                  <a:cubicBezTo>
                    <a:pt x="38" y="53"/>
                    <a:pt x="43" y="46"/>
                    <a:pt x="43" y="32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0" name="Freeform 21"/>
            <p:cNvSpPr>
              <a:spLocks/>
            </p:cNvSpPr>
            <p:nvPr/>
          </p:nvSpPr>
          <p:spPr bwMode="auto">
            <a:xfrm>
              <a:off x="1314451" y="5634038"/>
              <a:ext cx="168275" cy="242888"/>
            </a:xfrm>
            <a:custGeom>
              <a:avLst/>
              <a:gdLst>
                <a:gd name="T0" fmla="*/ 11 w 77"/>
                <a:gd name="T1" fmla="*/ 112 h 112"/>
                <a:gd name="T2" fmla="*/ 0 w 77"/>
                <a:gd name="T3" fmla="*/ 106 h 112"/>
                <a:gd name="T4" fmla="*/ 67 w 77"/>
                <a:gd name="T5" fmla="*/ 0 h 112"/>
                <a:gd name="T6" fmla="*/ 77 w 77"/>
                <a:gd name="T7" fmla="*/ 6 h 112"/>
                <a:gd name="T8" fmla="*/ 11 w 77"/>
                <a:gd name="T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12">
                  <a:moveTo>
                    <a:pt x="11" y="112"/>
                  </a:moveTo>
                  <a:cubicBezTo>
                    <a:pt x="7" y="110"/>
                    <a:pt x="4" y="108"/>
                    <a:pt x="0" y="106"/>
                  </a:cubicBezTo>
                  <a:cubicBezTo>
                    <a:pt x="23" y="71"/>
                    <a:pt x="44" y="36"/>
                    <a:pt x="67" y="0"/>
                  </a:cubicBezTo>
                  <a:cubicBezTo>
                    <a:pt x="70" y="2"/>
                    <a:pt x="73" y="4"/>
                    <a:pt x="77" y="6"/>
                  </a:cubicBezTo>
                  <a:cubicBezTo>
                    <a:pt x="55" y="42"/>
                    <a:pt x="33" y="77"/>
                    <a:pt x="11" y="112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cxnSp>
        <p:nvCxnSpPr>
          <p:cNvPr id="41" name="Straight Connector 40"/>
          <p:cNvCxnSpPr/>
          <p:nvPr/>
        </p:nvCxnSpPr>
        <p:spPr>
          <a:xfrm flipH="1">
            <a:off x="6698534" y="6210004"/>
            <a:ext cx="3291840" cy="0"/>
          </a:xfrm>
          <a:prstGeom prst="line">
            <a:avLst/>
          </a:prstGeom>
          <a:noFill/>
          <a:ln w="9525" cap="flat" cmpd="sng" algn="ctr">
            <a:solidFill>
              <a:srgbClr val="3E3C43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/>
          <p:nvPr/>
        </p:nvSpPr>
        <p:spPr>
          <a:xfrm>
            <a:off x="5326676" y="5034873"/>
            <a:ext cx="12816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greement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416876" y="6298141"/>
            <a:ext cx="12816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greement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317398" y="2086370"/>
            <a:ext cx="47965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B98D36"/>
              </a:buClr>
              <a:buFont typeface="Wingdings" panose="05000000000000000000" pitchFamily="2" charset="2"/>
              <a:buChar char="§"/>
              <a:tabLst>
                <a:tab pos="360000" algn="l"/>
              </a:tabLst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ccording to these agreements, the UAE and its partners accord each other preferential access for a specified list of goods. 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540" y="3177920"/>
            <a:ext cx="746750" cy="559342"/>
          </a:xfrm>
          <a:prstGeom prst="rect">
            <a:avLst/>
          </a:prstGeom>
        </p:spPr>
      </p:pic>
      <p:grpSp>
        <p:nvGrpSpPr>
          <p:cNvPr id="46" name="Group 45"/>
          <p:cNvGrpSpPr/>
          <p:nvPr/>
        </p:nvGrpSpPr>
        <p:grpSpPr>
          <a:xfrm flipH="1">
            <a:off x="4335329" y="3104382"/>
            <a:ext cx="1045355" cy="632880"/>
            <a:chOff x="2448795" y="2889786"/>
            <a:chExt cx="1172328" cy="709752"/>
          </a:xfrm>
        </p:grpSpPr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2765589" y="2889786"/>
              <a:ext cx="531520" cy="709752"/>
            </a:xfrm>
            <a:custGeom>
              <a:avLst/>
              <a:gdLst>
                <a:gd name="T0" fmla="*/ 23 w 141"/>
                <a:gd name="T1" fmla="*/ 69 h 189"/>
                <a:gd name="T2" fmla="*/ 35 w 141"/>
                <a:gd name="T3" fmla="*/ 57 h 189"/>
                <a:gd name="T4" fmla="*/ 35 w 141"/>
                <a:gd name="T5" fmla="*/ 79 h 189"/>
                <a:gd name="T6" fmla="*/ 23 w 141"/>
                <a:gd name="T7" fmla="*/ 92 h 189"/>
                <a:gd name="T8" fmla="*/ 35 w 141"/>
                <a:gd name="T9" fmla="*/ 79 h 189"/>
                <a:gd name="T10" fmla="*/ 23 w 141"/>
                <a:gd name="T11" fmla="*/ 101 h 189"/>
                <a:gd name="T12" fmla="*/ 35 w 141"/>
                <a:gd name="T13" fmla="*/ 114 h 189"/>
                <a:gd name="T14" fmla="*/ 35 w 141"/>
                <a:gd name="T15" fmla="*/ 123 h 189"/>
                <a:gd name="T16" fmla="*/ 23 w 141"/>
                <a:gd name="T17" fmla="*/ 136 h 189"/>
                <a:gd name="T18" fmla="*/ 35 w 141"/>
                <a:gd name="T19" fmla="*/ 123 h 189"/>
                <a:gd name="T20" fmla="*/ 35 w 141"/>
                <a:gd name="T21" fmla="*/ 158 h 189"/>
                <a:gd name="T22" fmla="*/ 23 w 141"/>
                <a:gd name="T23" fmla="*/ 146 h 189"/>
                <a:gd name="T24" fmla="*/ 44 w 141"/>
                <a:gd name="T25" fmla="*/ 158 h 189"/>
                <a:gd name="T26" fmla="*/ 119 w 141"/>
                <a:gd name="T27" fmla="*/ 151 h 189"/>
                <a:gd name="T28" fmla="*/ 44 w 141"/>
                <a:gd name="T29" fmla="*/ 158 h 189"/>
                <a:gd name="T30" fmla="*/ 44 w 141"/>
                <a:gd name="T31" fmla="*/ 129 h 189"/>
                <a:gd name="T32" fmla="*/ 119 w 141"/>
                <a:gd name="T33" fmla="*/ 136 h 189"/>
                <a:gd name="T34" fmla="*/ 119 w 141"/>
                <a:gd name="T35" fmla="*/ 107 h 189"/>
                <a:gd name="T36" fmla="*/ 44 w 141"/>
                <a:gd name="T37" fmla="*/ 114 h 189"/>
                <a:gd name="T38" fmla="*/ 119 w 141"/>
                <a:gd name="T39" fmla="*/ 107 h 189"/>
                <a:gd name="T40" fmla="*/ 44 w 141"/>
                <a:gd name="T41" fmla="*/ 62 h 189"/>
                <a:gd name="T42" fmla="*/ 119 w 141"/>
                <a:gd name="T43" fmla="*/ 69 h 189"/>
                <a:gd name="T44" fmla="*/ 119 w 141"/>
                <a:gd name="T45" fmla="*/ 84 h 189"/>
                <a:gd name="T46" fmla="*/ 44 w 141"/>
                <a:gd name="T47" fmla="*/ 92 h 189"/>
                <a:gd name="T48" fmla="*/ 119 w 141"/>
                <a:gd name="T49" fmla="*/ 84 h 189"/>
                <a:gd name="T50" fmla="*/ 59 w 141"/>
                <a:gd name="T51" fmla="*/ 12 h 189"/>
                <a:gd name="T52" fmla="*/ 82 w 141"/>
                <a:gd name="T53" fmla="*/ 12 h 189"/>
                <a:gd name="T54" fmla="*/ 115 w 141"/>
                <a:gd name="T55" fmla="*/ 37 h 189"/>
                <a:gd name="T56" fmla="*/ 37 w 141"/>
                <a:gd name="T57" fmla="*/ 23 h 189"/>
                <a:gd name="T58" fmla="*/ 71 w 141"/>
                <a:gd name="T59" fmla="*/ 15 h 189"/>
                <a:gd name="T60" fmla="*/ 71 w 141"/>
                <a:gd name="T61" fmla="*/ 9 h 189"/>
                <a:gd name="T62" fmla="*/ 132 w 141"/>
                <a:gd name="T63" fmla="*/ 16 h 189"/>
                <a:gd name="T64" fmla="*/ 106 w 141"/>
                <a:gd name="T65" fmla="*/ 18 h 189"/>
                <a:gd name="T66" fmla="*/ 130 w 141"/>
                <a:gd name="T67" fmla="*/ 27 h 189"/>
                <a:gd name="T68" fmla="*/ 11 w 141"/>
                <a:gd name="T69" fmla="*/ 178 h 189"/>
                <a:gd name="T70" fmla="*/ 24 w 141"/>
                <a:gd name="T71" fmla="*/ 27 h 189"/>
                <a:gd name="T72" fmla="*/ 43 w 141"/>
                <a:gd name="T73" fmla="*/ 16 h 189"/>
                <a:gd name="T74" fmla="*/ 0 w 141"/>
                <a:gd name="T75" fmla="*/ 25 h 189"/>
                <a:gd name="T76" fmla="*/ 9 w 141"/>
                <a:gd name="T77" fmla="*/ 189 h 189"/>
                <a:gd name="T78" fmla="*/ 141 w 141"/>
                <a:gd name="T79" fmla="*/ 180 h 189"/>
                <a:gd name="T80" fmla="*/ 132 w 141"/>
                <a:gd name="T81" fmla="*/ 1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89">
                  <a:moveTo>
                    <a:pt x="35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35" y="57"/>
                    <a:pt x="35" y="57"/>
                    <a:pt x="35" y="57"/>
                  </a:cubicBezTo>
                  <a:lnTo>
                    <a:pt x="35" y="69"/>
                  </a:lnTo>
                  <a:close/>
                  <a:moveTo>
                    <a:pt x="35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35" y="92"/>
                    <a:pt x="35" y="92"/>
                    <a:pt x="35" y="92"/>
                  </a:cubicBezTo>
                  <a:lnTo>
                    <a:pt x="35" y="79"/>
                  </a:lnTo>
                  <a:close/>
                  <a:moveTo>
                    <a:pt x="35" y="101"/>
                  </a:moveTo>
                  <a:cubicBezTo>
                    <a:pt x="23" y="101"/>
                    <a:pt x="23" y="101"/>
                    <a:pt x="23" y="101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35" y="114"/>
                    <a:pt x="35" y="114"/>
                    <a:pt x="35" y="114"/>
                  </a:cubicBezTo>
                  <a:lnTo>
                    <a:pt x="35" y="101"/>
                  </a:lnTo>
                  <a:close/>
                  <a:moveTo>
                    <a:pt x="35" y="123"/>
                  </a:moveTo>
                  <a:cubicBezTo>
                    <a:pt x="23" y="123"/>
                    <a:pt x="23" y="123"/>
                    <a:pt x="23" y="123"/>
                  </a:cubicBezTo>
                  <a:cubicBezTo>
                    <a:pt x="23" y="136"/>
                    <a:pt x="23" y="136"/>
                    <a:pt x="23" y="136"/>
                  </a:cubicBezTo>
                  <a:cubicBezTo>
                    <a:pt x="35" y="136"/>
                    <a:pt x="35" y="136"/>
                    <a:pt x="35" y="136"/>
                  </a:cubicBezTo>
                  <a:lnTo>
                    <a:pt x="35" y="123"/>
                  </a:lnTo>
                  <a:close/>
                  <a:moveTo>
                    <a:pt x="23" y="158"/>
                  </a:moveTo>
                  <a:cubicBezTo>
                    <a:pt x="35" y="158"/>
                    <a:pt x="35" y="158"/>
                    <a:pt x="35" y="158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23" y="146"/>
                    <a:pt x="23" y="146"/>
                    <a:pt x="23" y="146"/>
                  </a:cubicBezTo>
                  <a:lnTo>
                    <a:pt x="23" y="158"/>
                  </a:lnTo>
                  <a:close/>
                  <a:moveTo>
                    <a:pt x="44" y="158"/>
                  </a:moveTo>
                  <a:cubicBezTo>
                    <a:pt x="119" y="158"/>
                    <a:pt x="119" y="158"/>
                    <a:pt x="119" y="158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44" y="151"/>
                    <a:pt x="44" y="151"/>
                    <a:pt x="44" y="151"/>
                  </a:cubicBezTo>
                  <a:lnTo>
                    <a:pt x="44" y="158"/>
                  </a:lnTo>
                  <a:close/>
                  <a:moveTo>
                    <a:pt x="119" y="129"/>
                  </a:moveTo>
                  <a:cubicBezTo>
                    <a:pt x="44" y="129"/>
                    <a:pt x="44" y="129"/>
                    <a:pt x="44" y="129"/>
                  </a:cubicBezTo>
                  <a:cubicBezTo>
                    <a:pt x="44" y="136"/>
                    <a:pt x="44" y="136"/>
                    <a:pt x="44" y="136"/>
                  </a:cubicBezTo>
                  <a:cubicBezTo>
                    <a:pt x="119" y="136"/>
                    <a:pt x="119" y="136"/>
                    <a:pt x="119" y="136"/>
                  </a:cubicBezTo>
                  <a:lnTo>
                    <a:pt x="119" y="129"/>
                  </a:lnTo>
                  <a:close/>
                  <a:moveTo>
                    <a:pt x="119" y="107"/>
                  </a:moveTo>
                  <a:cubicBezTo>
                    <a:pt x="44" y="107"/>
                    <a:pt x="44" y="107"/>
                    <a:pt x="44" y="107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119" y="114"/>
                    <a:pt x="119" y="114"/>
                    <a:pt x="119" y="114"/>
                  </a:cubicBezTo>
                  <a:lnTo>
                    <a:pt x="119" y="107"/>
                  </a:lnTo>
                  <a:close/>
                  <a:moveTo>
                    <a:pt x="119" y="62"/>
                  </a:moveTo>
                  <a:cubicBezTo>
                    <a:pt x="44" y="62"/>
                    <a:pt x="44" y="62"/>
                    <a:pt x="44" y="62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119" y="69"/>
                    <a:pt x="119" y="69"/>
                    <a:pt x="119" y="69"/>
                  </a:cubicBezTo>
                  <a:lnTo>
                    <a:pt x="119" y="62"/>
                  </a:lnTo>
                  <a:close/>
                  <a:moveTo>
                    <a:pt x="119" y="84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119" y="92"/>
                    <a:pt x="119" y="92"/>
                    <a:pt x="119" y="92"/>
                  </a:cubicBezTo>
                  <a:lnTo>
                    <a:pt x="119" y="84"/>
                  </a:lnTo>
                  <a:close/>
                  <a:moveTo>
                    <a:pt x="37" y="23"/>
                  </a:moveTo>
                  <a:cubicBezTo>
                    <a:pt x="56" y="18"/>
                    <a:pt x="59" y="16"/>
                    <a:pt x="59" y="12"/>
                  </a:cubicBezTo>
                  <a:cubicBezTo>
                    <a:pt x="59" y="5"/>
                    <a:pt x="64" y="0"/>
                    <a:pt x="71" y="0"/>
                  </a:cubicBezTo>
                  <a:cubicBezTo>
                    <a:pt x="77" y="0"/>
                    <a:pt x="82" y="5"/>
                    <a:pt x="82" y="12"/>
                  </a:cubicBezTo>
                  <a:cubicBezTo>
                    <a:pt x="82" y="16"/>
                    <a:pt x="85" y="18"/>
                    <a:pt x="104" y="23"/>
                  </a:cubicBezTo>
                  <a:cubicBezTo>
                    <a:pt x="115" y="26"/>
                    <a:pt x="115" y="37"/>
                    <a:pt x="115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26"/>
                    <a:pt x="37" y="23"/>
                  </a:cubicBezTo>
                  <a:moveTo>
                    <a:pt x="68" y="12"/>
                  </a:moveTo>
                  <a:cubicBezTo>
                    <a:pt x="68" y="13"/>
                    <a:pt x="69" y="15"/>
                    <a:pt x="71" y="15"/>
                  </a:cubicBezTo>
                  <a:cubicBezTo>
                    <a:pt x="72" y="15"/>
                    <a:pt x="74" y="13"/>
                    <a:pt x="74" y="12"/>
                  </a:cubicBezTo>
                  <a:cubicBezTo>
                    <a:pt x="74" y="10"/>
                    <a:pt x="72" y="9"/>
                    <a:pt x="71" y="9"/>
                  </a:cubicBezTo>
                  <a:cubicBezTo>
                    <a:pt x="69" y="9"/>
                    <a:pt x="68" y="10"/>
                    <a:pt x="68" y="12"/>
                  </a:cubicBezTo>
                  <a:moveTo>
                    <a:pt x="132" y="16"/>
                  </a:moveTo>
                  <a:cubicBezTo>
                    <a:pt x="99" y="16"/>
                    <a:pt x="99" y="16"/>
                    <a:pt x="99" y="16"/>
                  </a:cubicBezTo>
                  <a:cubicBezTo>
                    <a:pt x="101" y="17"/>
                    <a:pt x="103" y="17"/>
                    <a:pt x="106" y="18"/>
                  </a:cubicBezTo>
                  <a:cubicBezTo>
                    <a:pt x="112" y="20"/>
                    <a:pt x="115" y="23"/>
                    <a:pt x="118" y="27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1" y="178"/>
                    <a:pt x="11" y="178"/>
                    <a:pt x="11" y="178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6" y="23"/>
                    <a:pt x="30" y="20"/>
                    <a:pt x="36" y="18"/>
                  </a:cubicBezTo>
                  <a:cubicBezTo>
                    <a:pt x="38" y="17"/>
                    <a:pt x="41" y="17"/>
                    <a:pt x="43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4" y="16"/>
                    <a:pt x="0" y="20"/>
                    <a:pt x="0" y="2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85"/>
                    <a:pt x="4" y="189"/>
                    <a:pt x="9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7" y="189"/>
                    <a:pt x="141" y="185"/>
                    <a:pt x="141" y="180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0"/>
                    <a:pt x="137" y="16"/>
                    <a:pt x="132" y="16"/>
                  </a:cubicBezTo>
                </a:path>
              </a:pathLst>
            </a:custGeom>
            <a:solidFill>
              <a:srgbClr val="3E3C4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48" name="Freeform 47"/>
            <p:cNvSpPr>
              <a:spLocks noEditPoints="1"/>
            </p:cNvSpPr>
            <p:nvPr/>
          </p:nvSpPr>
          <p:spPr bwMode="auto">
            <a:xfrm rot="18900000">
              <a:off x="3230639" y="3088751"/>
              <a:ext cx="390484" cy="380766"/>
            </a:xfrm>
            <a:custGeom>
              <a:avLst/>
              <a:gdLst>
                <a:gd name="T0" fmla="*/ 64 w 187"/>
                <a:gd name="T1" fmla="*/ 82 h 182"/>
                <a:gd name="T2" fmla="*/ 74 w 187"/>
                <a:gd name="T3" fmla="*/ 92 h 182"/>
                <a:gd name="T4" fmla="*/ 59 w 187"/>
                <a:gd name="T5" fmla="*/ 99 h 182"/>
                <a:gd name="T6" fmla="*/ 47 w 187"/>
                <a:gd name="T7" fmla="*/ 95 h 182"/>
                <a:gd name="T8" fmla="*/ 7 w 187"/>
                <a:gd name="T9" fmla="*/ 54 h 182"/>
                <a:gd name="T10" fmla="*/ 9 w 187"/>
                <a:gd name="T11" fmla="*/ 27 h 182"/>
                <a:gd name="T12" fmla="*/ 30 w 187"/>
                <a:gd name="T13" fmla="*/ 7 h 182"/>
                <a:gd name="T14" fmla="*/ 46 w 187"/>
                <a:gd name="T15" fmla="*/ 0 h 182"/>
                <a:gd name="T16" fmla="*/ 57 w 187"/>
                <a:gd name="T17" fmla="*/ 4 h 182"/>
                <a:gd name="T18" fmla="*/ 97 w 187"/>
                <a:gd name="T19" fmla="*/ 44 h 182"/>
                <a:gd name="T20" fmla="*/ 95 w 187"/>
                <a:gd name="T21" fmla="*/ 72 h 182"/>
                <a:gd name="T22" fmla="*/ 85 w 187"/>
                <a:gd name="T23" fmla="*/ 61 h 182"/>
                <a:gd name="T24" fmla="*/ 87 w 187"/>
                <a:gd name="T25" fmla="*/ 55 h 182"/>
                <a:gd name="T26" fmla="*/ 47 w 187"/>
                <a:gd name="T27" fmla="*/ 14 h 182"/>
                <a:gd name="T28" fmla="*/ 46 w 187"/>
                <a:gd name="T29" fmla="*/ 14 h 182"/>
                <a:gd name="T30" fmla="*/ 40 w 187"/>
                <a:gd name="T31" fmla="*/ 17 h 182"/>
                <a:gd name="T32" fmla="*/ 20 w 187"/>
                <a:gd name="T33" fmla="*/ 37 h 182"/>
                <a:gd name="T34" fmla="*/ 17 w 187"/>
                <a:gd name="T35" fmla="*/ 44 h 182"/>
                <a:gd name="T36" fmla="*/ 58 w 187"/>
                <a:gd name="T37" fmla="*/ 84 h 182"/>
                <a:gd name="T38" fmla="*/ 64 w 187"/>
                <a:gd name="T39" fmla="*/ 82 h 182"/>
                <a:gd name="T40" fmla="*/ 180 w 187"/>
                <a:gd name="T41" fmla="*/ 127 h 182"/>
                <a:gd name="T42" fmla="*/ 140 w 187"/>
                <a:gd name="T43" fmla="*/ 87 h 182"/>
                <a:gd name="T44" fmla="*/ 128 w 187"/>
                <a:gd name="T45" fmla="*/ 82 h 182"/>
                <a:gd name="T46" fmla="*/ 113 w 187"/>
                <a:gd name="T47" fmla="*/ 89 h 182"/>
                <a:gd name="T48" fmla="*/ 123 w 187"/>
                <a:gd name="T49" fmla="*/ 100 h 182"/>
                <a:gd name="T50" fmla="*/ 128 w 187"/>
                <a:gd name="T51" fmla="*/ 97 h 182"/>
                <a:gd name="T52" fmla="*/ 129 w 187"/>
                <a:gd name="T53" fmla="*/ 97 h 182"/>
                <a:gd name="T54" fmla="*/ 170 w 187"/>
                <a:gd name="T55" fmla="*/ 138 h 182"/>
                <a:gd name="T56" fmla="*/ 167 w 187"/>
                <a:gd name="T57" fmla="*/ 144 h 182"/>
                <a:gd name="T58" fmla="*/ 147 w 187"/>
                <a:gd name="T59" fmla="*/ 165 h 182"/>
                <a:gd name="T60" fmla="*/ 140 w 187"/>
                <a:gd name="T61" fmla="*/ 167 h 182"/>
                <a:gd name="T62" fmla="*/ 100 w 187"/>
                <a:gd name="T63" fmla="*/ 127 h 182"/>
                <a:gd name="T64" fmla="*/ 102 w 187"/>
                <a:gd name="T65" fmla="*/ 120 h 182"/>
                <a:gd name="T66" fmla="*/ 92 w 187"/>
                <a:gd name="T67" fmla="*/ 110 h 182"/>
                <a:gd name="T68" fmla="*/ 90 w 187"/>
                <a:gd name="T69" fmla="*/ 137 h 182"/>
                <a:gd name="T70" fmla="*/ 130 w 187"/>
                <a:gd name="T71" fmla="*/ 177 h 182"/>
                <a:gd name="T72" fmla="*/ 141 w 187"/>
                <a:gd name="T73" fmla="*/ 182 h 182"/>
                <a:gd name="T74" fmla="*/ 141 w 187"/>
                <a:gd name="T75" fmla="*/ 182 h 182"/>
                <a:gd name="T76" fmla="*/ 157 w 187"/>
                <a:gd name="T77" fmla="*/ 175 h 182"/>
                <a:gd name="T78" fmla="*/ 178 w 187"/>
                <a:gd name="T79" fmla="*/ 155 h 182"/>
                <a:gd name="T80" fmla="*/ 180 w 187"/>
                <a:gd name="T81" fmla="*/ 127 h 182"/>
                <a:gd name="T82" fmla="*/ 60 w 187"/>
                <a:gd name="T83" fmla="*/ 57 h 182"/>
                <a:gd name="T84" fmla="*/ 60 w 187"/>
                <a:gd name="T85" fmla="*/ 70 h 182"/>
                <a:gd name="T86" fmla="*/ 114 w 187"/>
                <a:gd name="T87" fmla="*/ 124 h 182"/>
                <a:gd name="T88" fmla="*/ 121 w 187"/>
                <a:gd name="T89" fmla="*/ 127 h 182"/>
                <a:gd name="T90" fmla="*/ 127 w 187"/>
                <a:gd name="T91" fmla="*/ 124 h 182"/>
                <a:gd name="T92" fmla="*/ 127 w 187"/>
                <a:gd name="T93" fmla="*/ 112 h 182"/>
                <a:gd name="T94" fmla="*/ 73 w 187"/>
                <a:gd name="T95" fmla="*/ 57 h 182"/>
                <a:gd name="T96" fmla="*/ 60 w 187"/>
                <a:gd name="T97" fmla="*/ 5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7" h="182">
                  <a:moveTo>
                    <a:pt x="64" y="82"/>
                  </a:moveTo>
                  <a:cubicBezTo>
                    <a:pt x="74" y="92"/>
                    <a:pt x="74" y="92"/>
                    <a:pt x="74" y="92"/>
                  </a:cubicBezTo>
                  <a:cubicBezTo>
                    <a:pt x="70" y="97"/>
                    <a:pt x="64" y="99"/>
                    <a:pt x="59" y="99"/>
                  </a:cubicBezTo>
                  <a:cubicBezTo>
                    <a:pt x="54" y="99"/>
                    <a:pt x="50" y="98"/>
                    <a:pt x="47" y="9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47"/>
                    <a:pt x="1" y="35"/>
                    <a:pt x="9" y="2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4" y="2"/>
                    <a:pt x="40" y="0"/>
                    <a:pt x="46" y="0"/>
                  </a:cubicBezTo>
                  <a:cubicBezTo>
                    <a:pt x="50" y="0"/>
                    <a:pt x="54" y="1"/>
                    <a:pt x="57" y="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104" y="51"/>
                    <a:pt x="103" y="63"/>
                    <a:pt x="95" y="72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7" y="58"/>
                    <a:pt x="87" y="55"/>
                    <a:pt x="8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6" y="14"/>
                    <a:pt x="46" y="14"/>
                  </a:cubicBezTo>
                  <a:cubicBezTo>
                    <a:pt x="44" y="14"/>
                    <a:pt x="42" y="15"/>
                    <a:pt x="40" y="1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7" y="40"/>
                    <a:pt x="17" y="43"/>
                    <a:pt x="17" y="4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61" y="85"/>
                    <a:pt x="64" y="82"/>
                  </a:cubicBezTo>
                  <a:close/>
                  <a:moveTo>
                    <a:pt x="180" y="127"/>
                  </a:moveTo>
                  <a:cubicBezTo>
                    <a:pt x="140" y="87"/>
                    <a:pt x="140" y="87"/>
                    <a:pt x="140" y="87"/>
                  </a:cubicBezTo>
                  <a:cubicBezTo>
                    <a:pt x="137" y="84"/>
                    <a:pt x="133" y="82"/>
                    <a:pt x="128" y="82"/>
                  </a:cubicBezTo>
                  <a:cubicBezTo>
                    <a:pt x="123" y="82"/>
                    <a:pt x="117" y="85"/>
                    <a:pt x="113" y="89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25" y="98"/>
                    <a:pt x="127" y="97"/>
                    <a:pt x="128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0" y="138"/>
                    <a:pt x="170" y="141"/>
                    <a:pt x="167" y="144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4" y="167"/>
                    <a:pt x="141" y="167"/>
                    <a:pt x="140" y="167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100" y="126"/>
                    <a:pt x="100" y="123"/>
                    <a:pt x="102" y="120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84" y="118"/>
                    <a:pt x="83" y="130"/>
                    <a:pt x="90" y="137"/>
                  </a:cubicBezTo>
                  <a:cubicBezTo>
                    <a:pt x="130" y="177"/>
                    <a:pt x="130" y="177"/>
                    <a:pt x="130" y="177"/>
                  </a:cubicBezTo>
                  <a:cubicBezTo>
                    <a:pt x="133" y="180"/>
                    <a:pt x="137" y="182"/>
                    <a:pt x="141" y="182"/>
                  </a:cubicBezTo>
                  <a:cubicBezTo>
                    <a:pt x="141" y="182"/>
                    <a:pt x="141" y="182"/>
                    <a:pt x="141" y="182"/>
                  </a:cubicBezTo>
                  <a:cubicBezTo>
                    <a:pt x="147" y="182"/>
                    <a:pt x="153" y="179"/>
                    <a:pt x="157" y="175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86" y="146"/>
                    <a:pt x="187" y="134"/>
                    <a:pt x="180" y="127"/>
                  </a:cubicBezTo>
                  <a:close/>
                  <a:moveTo>
                    <a:pt x="60" y="57"/>
                  </a:moveTo>
                  <a:cubicBezTo>
                    <a:pt x="56" y="61"/>
                    <a:pt x="56" y="66"/>
                    <a:pt x="60" y="70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6" y="126"/>
                    <a:pt x="118" y="127"/>
                    <a:pt x="121" y="127"/>
                  </a:cubicBezTo>
                  <a:cubicBezTo>
                    <a:pt x="123" y="127"/>
                    <a:pt x="125" y="126"/>
                    <a:pt x="127" y="124"/>
                  </a:cubicBezTo>
                  <a:cubicBezTo>
                    <a:pt x="131" y="121"/>
                    <a:pt x="131" y="115"/>
                    <a:pt x="127" y="112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69" y="53"/>
                    <a:pt x="63" y="53"/>
                    <a:pt x="60" y="57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 rot="18900000">
              <a:off x="2448795" y="3088751"/>
              <a:ext cx="390484" cy="380766"/>
            </a:xfrm>
            <a:custGeom>
              <a:avLst/>
              <a:gdLst>
                <a:gd name="T0" fmla="*/ 64 w 187"/>
                <a:gd name="T1" fmla="*/ 82 h 182"/>
                <a:gd name="T2" fmla="*/ 74 w 187"/>
                <a:gd name="T3" fmla="*/ 92 h 182"/>
                <a:gd name="T4" fmla="*/ 59 w 187"/>
                <a:gd name="T5" fmla="*/ 99 h 182"/>
                <a:gd name="T6" fmla="*/ 47 w 187"/>
                <a:gd name="T7" fmla="*/ 95 h 182"/>
                <a:gd name="T8" fmla="*/ 7 w 187"/>
                <a:gd name="T9" fmla="*/ 54 h 182"/>
                <a:gd name="T10" fmla="*/ 9 w 187"/>
                <a:gd name="T11" fmla="*/ 27 h 182"/>
                <a:gd name="T12" fmla="*/ 30 w 187"/>
                <a:gd name="T13" fmla="*/ 7 h 182"/>
                <a:gd name="T14" fmla="*/ 46 w 187"/>
                <a:gd name="T15" fmla="*/ 0 h 182"/>
                <a:gd name="T16" fmla="*/ 57 w 187"/>
                <a:gd name="T17" fmla="*/ 4 h 182"/>
                <a:gd name="T18" fmla="*/ 97 w 187"/>
                <a:gd name="T19" fmla="*/ 44 h 182"/>
                <a:gd name="T20" fmla="*/ 95 w 187"/>
                <a:gd name="T21" fmla="*/ 72 h 182"/>
                <a:gd name="T22" fmla="*/ 85 w 187"/>
                <a:gd name="T23" fmla="*/ 61 h 182"/>
                <a:gd name="T24" fmla="*/ 87 w 187"/>
                <a:gd name="T25" fmla="*/ 55 h 182"/>
                <a:gd name="T26" fmla="*/ 47 w 187"/>
                <a:gd name="T27" fmla="*/ 14 h 182"/>
                <a:gd name="T28" fmla="*/ 46 w 187"/>
                <a:gd name="T29" fmla="*/ 14 h 182"/>
                <a:gd name="T30" fmla="*/ 40 w 187"/>
                <a:gd name="T31" fmla="*/ 17 h 182"/>
                <a:gd name="T32" fmla="*/ 20 w 187"/>
                <a:gd name="T33" fmla="*/ 37 h 182"/>
                <a:gd name="T34" fmla="*/ 17 w 187"/>
                <a:gd name="T35" fmla="*/ 44 h 182"/>
                <a:gd name="T36" fmla="*/ 58 w 187"/>
                <a:gd name="T37" fmla="*/ 84 h 182"/>
                <a:gd name="T38" fmla="*/ 64 w 187"/>
                <a:gd name="T39" fmla="*/ 82 h 182"/>
                <a:gd name="T40" fmla="*/ 180 w 187"/>
                <a:gd name="T41" fmla="*/ 127 h 182"/>
                <a:gd name="T42" fmla="*/ 140 w 187"/>
                <a:gd name="T43" fmla="*/ 87 h 182"/>
                <a:gd name="T44" fmla="*/ 128 w 187"/>
                <a:gd name="T45" fmla="*/ 82 h 182"/>
                <a:gd name="T46" fmla="*/ 113 w 187"/>
                <a:gd name="T47" fmla="*/ 89 h 182"/>
                <a:gd name="T48" fmla="*/ 123 w 187"/>
                <a:gd name="T49" fmla="*/ 100 h 182"/>
                <a:gd name="T50" fmla="*/ 128 w 187"/>
                <a:gd name="T51" fmla="*/ 97 h 182"/>
                <a:gd name="T52" fmla="*/ 129 w 187"/>
                <a:gd name="T53" fmla="*/ 97 h 182"/>
                <a:gd name="T54" fmla="*/ 170 w 187"/>
                <a:gd name="T55" fmla="*/ 138 h 182"/>
                <a:gd name="T56" fmla="*/ 167 w 187"/>
                <a:gd name="T57" fmla="*/ 144 h 182"/>
                <a:gd name="T58" fmla="*/ 147 w 187"/>
                <a:gd name="T59" fmla="*/ 165 h 182"/>
                <a:gd name="T60" fmla="*/ 140 w 187"/>
                <a:gd name="T61" fmla="*/ 167 h 182"/>
                <a:gd name="T62" fmla="*/ 100 w 187"/>
                <a:gd name="T63" fmla="*/ 127 h 182"/>
                <a:gd name="T64" fmla="*/ 102 w 187"/>
                <a:gd name="T65" fmla="*/ 120 h 182"/>
                <a:gd name="T66" fmla="*/ 92 w 187"/>
                <a:gd name="T67" fmla="*/ 110 h 182"/>
                <a:gd name="T68" fmla="*/ 90 w 187"/>
                <a:gd name="T69" fmla="*/ 137 h 182"/>
                <a:gd name="T70" fmla="*/ 130 w 187"/>
                <a:gd name="T71" fmla="*/ 177 h 182"/>
                <a:gd name="T72" fmla="*/ 141 w 187"/>
                <a:gd name="T73" fmla="*/ 182 h 182"/>
                <a:gd name="T74" fmla="*/ 141 w 187"/>
                <a:gd name="T75" fmla="*/ 182 h 182"/>
                <a:gd name="T76" fmla="*/ 157 w 187"/>
                <a:gd name="T77" fmla="*/ 175 h 182"/>
                <a:gd name="T78" fmla="*/ 178 w 187"/>
                <a:gd name="T79" fmla="*/ 155 h 182"/>
                <a:gd name="T80" fmla="*/ 180 w 187"/>
                <a:gd name="T81" fmla="*/ 127 h 182"/>
                <a:gd name="T82" fmla="*/ 60 w 187"/>
                <a:gd name="T83" fmla="*/ 57 h 182"/>
                <a:gd name="T84" fmla="*/ 60 w 187"/>
                <a:gd name="T85" fmla="*/ 70 h 182"/>
                <a:gd name="T86" fmla="*/ 114 w 187"/>
                <a:gd name="T87" fmla="*/ 124 h 182"/>
                <a:gd name="T88" fmla="*/ 121 w 187"/>
                <a:gd name="T89" fmla="*/ 127 h 182"/>
                <a:gd name="T90" fmla="*/ 127 w 187"/>
                <a:gd name="T91" fmla="*/ 124 h 182"/>
                <a:gd name="T92" fmla="*/ 127 w 187"/>
                <a:gd name="T93" fmla="*/ 112 h 182"/>
                <a:gd name="T94" fmla="*/ 73 w 187"/>
                <a:gd name="T95" fmla="*/ 57 h 182"/>
                <a:gd name="T96" fmla="*/ 60 w 187"/>
                <a:gd name="T97" fmla="*/ 5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7" h="182">
                  <a:moveTo>
                    <a:pt x="64" y="82"/>
                  </a:moveTo>
                  <a:cubicBezTo>
                    <a:pt x="74" y="92"/>
                    <a:pt x="74" y="92"/>
                    <a:pt x="74" y="92"/>
                  </a:cubicBezTo>
                  <a:cubicBezTo>
                    <a:pt x="70" y="97"/>
                    <a:pt x="64" y="99"/>
                    <a:pt x="59" y="99"/>
                  </a:cubicBezTo>
                  <a:cubicBezTo>
                    <a:pt x="54" y="99"/>
                    <a:pt x="50" y="98"/>
                    <a:pt x="47" y="9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47"/>
                    <a:pt x="1" y="35"/>
                    <a:pt x="9" y="2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4" y="2"/>
                    <a:pt x="40" y="0"/>
                    <a:pt x="46" y="0"/>
                  </a:cubicBezTo>
                  <a:cubicBezTo>
                    <a:pt x="50" y="0"/>
                    <a:pt x="54" y="1"/>
                    <a:pt x="57" y="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104" y="51"/>
                    <a:pt x="103" y="63"/>
                    <a:pt x="95" y="72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7" y="58"/>
                    <a:pt x="87" y="55"/>
                    <a:pt x="8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6" y="14"/>
                    <a:pt x="46" y="14"/>
                  </a:cubicBezTo>
                  <a:cubicBezTo>
                    <a:pt x="44" y="14"/>
                    <a:pt x="42" y="15"/>
                    <a:pt x="40" y="1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7" y="40"/>
                    <a:pt x="17" y="43"/>
                    <a:pt x="17" y="4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61" y="85"/>
                    <a:pt x="64" y="82"/>
                  </a:cubicBezTo>
                  <a:close/>
                  <a:moveTo>
                    <a:pt x="180" y="127"/>
                  </a:moveTo>
                  <a:cubicBezTo>
                    <a:pt x="140" y="87"/>
                    <a:pt x="140" y="87"/>
                    <a:pt x="140" y="87"/>
                  </a:cubicBezTo>
                  <a:cubicBezTo>
                    <a:pt x="137" y="84"/>
                    <a:pt x="133" y="82"/>
                    <a:pt x="128" y="82"/>
                  </a:cubicBezTo>
                  <a:cubicBezTo>
                    <a:pt x="123" y="82"/>
                    <a:pt x="117" y="85"/>
                    <a:pt x="113" y="89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25" y="98"/>
                    <a:pt x="127" y="97"/>
                    <a:pt x="128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0" y="138"/>
                    <a:pt x="170" y="141"/>
                    <a:pt x="167" y="144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4" y="167"/>
                    <a:pt x="141" y="167"/>
                    <a:pt x="140" y="167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100" y="126"/>
                    <a:pt x="100" y="123"/>
                    <a:pt x="102" y="120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84" y="118"/>
                    <a:pt x="83" y="130"/>
                    <a:pt x="90" y="137"/>
                  </a:cubicBezTo>
                  <a:cubicBezTo>
                    <a:pt x="130" y="177"/>
                    <a:pt x="130" y="177"/>
                    <a:pt x="130" y="177"/>
                  </a:cubicBezTo>
                  <a:cubicBezTo>
                    <a:pt x="133" y="180"/>
                    <a:pt x="137" y="182"/>
                    <a:pt x="141" y="182"/>
                  </a:cubicBezTo>
                  <a:cubicBezTo>
                    <a:pt x="141" y="182"/>
                    <a:pt x="141" y="182"/>
                    <a:pt x="141" y="182"/>
                  </a:cubicBezTo>
                  <a:cubicBezTo>
                    <a:pt x="147" y="182"/>
                    <a:pt x="153" y="179"/>
                    <a:pt x="157" y="175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86" y="146"/>
                    <a:pt x="187" y="134"/>
                    <a:pt x="180" y="127"/>
                  </a:cubicBezTo>
                  <a:close/>
                  <a:moveTo>
                    <a:pt x="60" y="57"/>
                  </a:moveTo>
                  <a:cubicBezTo>
                    <a:pt x="56" y="61"/>
                    <a:pt x="56" y="66"/>
                    <a:pt x="60" y="70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6" y="126"/>
                    <a:pt x="118" y="127"/>
                    <a:pt x="121" y="127"/>
                  </a:cubicBezTo>
                  <a:cubicBezTo>
                    <a:pt x="123" y="127"/>
                    <a:pt x="125" y="126"/>
                    <a:pt x="127" y="124"/>
                  </a:cubicBezTo>
                  <a:cubicBezTo>
                    <a:pt x="131" y="121"/>
                    <a:pt x="131" y="115"/>
                    <a:pt x="127" y="112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69" y="53"/>
                    <a:pt x="63" y="53"/>
                    <a:pt x="60" y="57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pic>
        <p:nvPicPr>
          <p:cNvPr id="50" name="Picture 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8809" y="3187101"/>
            <a:ext cx="559342" cy="559341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084" y="3187101"/>
            <a:ext cx="559342" cy="55934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74" y="3177920"/>
            <a:ext cx="745789" cy="577703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976" y="3187101"/>
            <a:ext cx="746749" cy="559341"/>
          </a:xfrm>
          <a:prstGeom prst="rect">
            <a:avLst/>
          </a:prstGeom>
        </p:spPr>
      </p:pic>
      <p:cxnSp>
        <p:nvCxnSpPr>
          <p:cNvPr id="55" name="Straight Connector 54"/>
          <p:cNvCxnSpPr/>
          <p:nvPr/>
        </p:nvCxnSpPr>
        <p:spPr>
          <a:xfrm>
            <a:off x="6532474" y="3482614"/>
            <a:ext cx="3396870" cy="0"/>
          </a:xfrm>
          <a:prstGeom prst="line">
            <a:avLst/>
          </a:prstGeom>
          <a:noFill/>
          <a:ln w="9525" cap="flat" cmpd="sng" algn="ctr">
            <a:solidFill>
              <a:srgbClr val="3E3C43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56" name="Group 55"/>
          <p:cNvGrpSpPr/>
          <p:nvPr/>
        </p:nvGrpSpPr>
        <p:grpSpPr>
          <a:xfrm>
            <a:off x="10129051" y="2888176"/>
            <a:ext cx="984855" cy="901915"/>
            <a:chOff x="1424147" y="1644073"/>
            <a:chExt cx="1004598" cy="919996"/>
          </a:xfrm>
        </p:grpSpPr>
        <p:sp>
          <p:nvSpPr>
            <p:cNvPr id="57" name="Freeform 56"/>
            <p:cNvSpPr>
              <a:spLocks noEditPoints="1"/>
            </p:cNvSpPr>
            <p:nvPr/>
          </p:nvSpPr>
          <p:spPr bwMode="auto">
            <a:xfrm>
              <a:off x="1424147" y="1644073"/>
              <a:ext cx="503800" cy="479558"/>
            </a:xfrm>
            <a:custGeom>
              <a:avLst/>
              <a:gdLst>
                <a:gd name="T0" fmla="*/ 43 w 202"/>
                <a:gd name="T1" fmla="*/ 118 h 192"/>
                <a:gd name="T2" fmla="*/ 29 w 202"/>
                <a:gd name="T3" fmla="*/ 88 h 192"/>
                <a:gd name="T4" fmla="*/ 69 w 202"/>
                <a:gd name="T5" fmla="*/ 77 h 192"/>
                <a:gd name="T6" fmla="*/ 49 w 202"/>
                <a:gd name="T7" fmla="*/ 145 h 192"/>
                <a:gd name="T8" fmla="*/ 49 w 202"/>
                <a:gd name="T9" fmla="*/ 47 h 192"/>
                <a:gd name="T10" fmla="*/ 49 w 202"/>
                <a:gd name="T11" fmla="*/ 145 h 192"/>
                <a:gd name="T12" fmla="*/ 86 w 202"/>
                <a:gd name="T13" fmla="*/ 96 h 192"/>
                <a:gd name="T14" fmla="*/ 12 w 202"/>
                <a:gd name="T15" fmla="*/ 96 h 192"/>
                <a:gd name="T16" fmla="*/ 177 w 202"/>
                <a:gd name="T17" fmla="*/ 76 h 192"/>
                <a:gd name="T18" fmla="*/ 102 w 202"/>
                <a:gd name="T19" fmla="*/ 84 h 192"/>
                <a:gd name="T20" fmla="*/ 177 w 202"/>
                <a:gd name="T21" fmla="*/ 76 h 192"/>
                <a:gd name="T22" fmla="*/ 94 w 202"/>
                <a:gd name="T23" fmla="*/ 51 h 192"/>
                <a:gd name="T24" fmla="*/ 153 w 202"/>
                <a:gd name="T25" fmla="*/ 59 h 192"/>
                <a:gd name="T26" fmla="*/ 202 w 202"/>
                <a:gd name="T27" fmla="*/ 49 h 192"/>
                <a:gd name="T28" fmla="*/ 192 w 202"/>
                <a:gd name="T29" fmla="*/ 192 h 192"/>
                <a:gd name="T30" fmla="*/ 45 w 202"/>
                <a:gd name="T31" fmla="*/ 182 h 192"/>
                <a:gd name="T32" fmla="*/ 49 w 202"/>
                <a:gd name="T33" fmla="*/ 151 h 192"/>
                <a:gd name="T34" fmla="*/ 57 w 202"/>
                <a:gd name="T35" fmla="*/ 180 h 192"/>
                <a:gd name="T36" fmla="*/ 190 w 202"/>
                <a:gd name="T37" fmla="*/ 55 h 192"/>
                <a:gd name="T38" fmla="*/ 147 w 202"/>
                <a:gd name="T39" fmla="*/ 39 h 192"/>
                <a:gd name="T40" fmla="*/ 57 w 202"/>
                <a:gd name="T41" fmla="*/ 12 h 192"/>
                <a:gd name="T42" fmla="*/ 49 w 202"/>
                <a:gd name="T43" fmla="*/ 41 h 192"/>
                <a:gd name="T44" fmla="*/ 45 w 202"/>
                <a:gd name="T45" fmla="*/ 10 h 192"/>
                <a:gd name="T46" fmla="*/ 153 w 202"/>
                <a:gd name="T47" fmla="*/ 0 h 192"/>
                <a:gd name="T48" fmla="*/ 157 w 202"/>
                <a:gd name="T49" fmla="*/ 1 h 192"/>
                <a:gd name="T50" fmla="*/ 202 w 202"/>
                <a:gd name="T51" fmla="*/ 49 h 192"/>
                <a:gd name="T52" fmla="*/ 182 w 202"/>
                <a:gd name="T53" fmla="*/ 43 h 192"/>
                <a:gd name="T54" fmla="*/ 159 w 202"/>
                <a:gd name="T55" fmla="*/ 39 h 192"/>
                <a:gd name="T56" fmla="*/ 182 w 202"/>
                <a:gd name="T57" fmla="*/ 43 h 192"/>
                <a:gd name="T58" fmla="*/ 137 w 202"/>
                <a:gd name="T59" fmla="*/ 158 h 192"/>
                <a:gd name="T60" fmla="*/ 70 w 202"/>
                <a:gd name="T61" fmla="*/ 150 h 192"/>
                <a:gd name="T62" fmla="*/ 177 w 202"/>
                <a:gd name="T63" fmla="*/ 101 h 192"/>
                <a:gd name="T64" fmla="*/ 102 w 202"/>
                <a:gd name="T65" fmla="*/ 109 h 192"/>
                <a:gd name="T66" fmla="*/ 177 w 202"/>
                <a:gd name="T67" fmla="*/ 101 h 192"/>
                <a:gd name="T68" fmla="*/ 95 w 202"/>
                <a:gd name="T69" fmla="*/ 125 h 192"/>
                <a:gd name="T70" fmla="*/ 177 w 202"/>
                <a:gd name="T71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2" h="192">
                  <a:moveTo>
                    <a:pt x="78" y="87"/>
                  </a:moveTo>
                  <a:cubicBezTo>
                    <a:pt x="43" y="118"/>
                    <a:pt x="43" y="118"/>
                    <a:pt x="43" y="118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69" y="77"/>
                    <a:pt x="69" y="77"/>
                    <a:pt x="69" y="77"/>
                  </a:cubicBezTo>
                  <a:lnTo>
                    <a:pt x="78" y="87"/>
                  </a:lnTo>
                  <a:close/>
                  <a:moveTo>
                    <a:pt x="49" y="145"/>
                  </a:moveTo>
                  <a:cubicBezTo>
                    <a:pt x="22" y="145"/>
                    <a:pt x="0" y="123"/>
                    <a:pt x="0" y="96"/>
                  </a:cubicBezTo>
                  <a:cubicBezTo>
                    <a:pt x="0" y="69"/>
                    <a:pt x="22" y="47"/>
                    <a:pt x="49" y="47"/>
                  </a:cubicBezTo>
                  <a:cubicBezTo>
                    <a:pt x="76" y="47"/>
                    <a:pt x="98" y="69"/>
                    <a:pt x="98" y="96"/>
                  </a:cubicBezTo>
                  <a:cubicBezTo>
                    <a:pt x="98" y="123"/>
                    <a:pt x="76" y="145"/>
                    <a:pt x="49" y="145"/>
                  </a:cubicBezTo>
                  <a:moveTo>
                    <a:pt x="49" y="133"/>
                  </a:moveTo>
                  <a:cubicBezTo>
                    <a:pt x="69" y="133"/>
                    <a:pt x="86" y="116"/>
                    <a:pt x="86" y="96"/>
                  </a:cubicBezTo>
                  <a:cubicBezTo>
                    <a:pt x="86" y="76"/>
                    <a:pt x="69" y="59"/>
                    <a:pt x="49" y="59"/>
                  </a:cubicBezTo>
                  <a:cubicBezTo>
                    <a:pt x="29" y="59"/>
                    <a:pt x="12" y="76"/>
                    <a:pt x="12" y="96"/>
                  </a:cubicBezTo>
                  <a:cubicBezTo>
                    <a:pt x="12" y="116"/>
                    <a:pt x="29" y="133"/>
                    <a:pt x="49" y="133"/>
                  </a:cubicBezTo>
                  <a:moveTo>
                    <a:pt x="177" y="76"/>
                  </a:moveTo>
                  <a:cubicBezTo>
                    <a:pt x="100" y="76"/>
                    <a:pt x="100" y="76"/>
                    <a:pt x="100" y="76"/>
                  </a:cubicBezTo>
                  <a:cubicBezTo>
                    <a:pt x="101" y="79"/>
                    <a:pt x="102" y="81"/>
                    <a:pt x="102" y="84"/>
                  </a:cubicBezTo>
                  <a:cubicBezTo>
                    <a:pt x="177" y="84"/>
                    <a:pt x="177" y="84"/>
                    <a:pt x="177" y="84"/>
                  </a:cubicBezTo>
                  <a:lnTo>
                    <a:pt x="177" y="76"/>
                  </a:lnTo>
                  <a:close/>
                  <a:moveTo>
                    <a:pt x="14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4" y="59"/>
                    <a:pt x="94" y="59"/>
                    <a:pt x="94" y="59"/>
                  </a:cubicBezTo>
                  <a:cubicBezTo>
                    <a:pt x="153" y="59"/>
                    <a:pt x="153" y="59"/>
                    <a:pt x="153" y="59"/>
                  </a:cubicBezTo>
                  <a:cubicBezTo>
                    <a:pt x="150" y="58"/>
                    <a:pt x="147" y="55"/>
                    <a:pt x="144" y="51"/>
                  </a:cubicBezTo>
                  <a:moveTo>
                    <a:pt x="202" y="49"/>
                  </a:moveTo>
                  <a:cubicBezTo>
                    <a:pt x="202" y="182"/>
                    <a:pt x="202" y="182"/>
                    <a:pt x="202" y="182"/>
                  </a:cubicBezTo>
                  <a:cubicBezTo>
                    <a:pt x="202" y="188"/>
                    <a:pt x="198" y="192"/>
                    <a:pt x="192" y="192"/>
                  </a:cubicBezTo>
                  <a:cubicBezTo>
                    <a:pt x="55" y="192"/>
                    <a:pt x="55" y="192"/>
                    <a:pt x="55" y="192"/>
                  </a:cubicBezTo>
                  <a:cubicBezTo>
                    <a:pt x="49" y="192"/>
                    <a:pt x="45" y="188"/>
                    <a:pt x="45" y="182"/>
                  </a:cubicBezTo>
                  <a:cubicBezTo>
                    <a:pt x="45" y="151"/>
                    <a:pt x="45" y="151"/>
                    <a:pt x="45" y="151"/>
                  </a:cubicBezTo>
                  <a:cubicBezTo>
                    <a:pt x="46" y="151"/>
                    <a:pt x="48" y="151"/>
                    <a:pt x="49" y="151"/>
                  </a:cubicBezTo>
                  <a:cubicBezTo>
                    <a:pt x="52" y="151"/>
                    <a:pt x="54" y="150"/>
                    <a:pt x="57" y="150"/>
                  </a:cubicBezTo>
                  <a:cubicBezTo>
                    <a:pt x="57" y="180"/>
                    <a:pt x="57" y="180"/>
                    <a:pt x="57" y="180"/>
                  </a:cubicBezTo>
                  <a:cubicBezTo>
                    <a:pt x="190" y="180"/>
                    <a:pt x="190" y="180"/>
                    <a:pt x="190" y="180"/>
                  </a:cubicBezTo>
                  <a:cubicBezTo>
                    <a:pt x="190" y="55"/>
                    <a:pt x="190" y="55"/>
                    <a:pt x="190" y="55"/>
                  </a:cubicBezTo>
                  <a:cubicBezTo>
                    <a:pt x="163" y="55"/>
                    <a:pt x="163" y="55"/>
                    <a:pt x="163" y="55"/>
                  </a:cubicBezTo>
                  <a:cubicBezTo>
                    <a:pt x="154" y="55"/>
                    <a:pt x="147" y="48"/>
                    <a:pt x="147" y="39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4" y="42"/>
                    <a:pt x="52" y="41"/>
                    <a:pt x="49" y="41"/>
                  </a:cubicBezTo>
                  <a:cubicBezTo>
                    <a:pt x="48" y="41"/>
                    <a:pt x="46" y="41"/>
                    <a:pt x="45" y="42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4"/>
                    <a:pt x="49" y="0"/>
                    <a:pt x="55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0"/>
                    <a:pt x="156" y="0"/>
                    <a:pt x="157" y="1"/>
                  </a:cubicBezTo>
                  <a:cubicBezTo>
                    <a:pt x="200" y="44"/>
                    <a:pt x="200" y="44"/>
                    <a:pt x="200" y="44"/>
                  </a:cubicBezTo>
                  <a:cubicBezTo>
                    <a:pt x="202" y="46"/>
                    <a:pt x="202" y="46"/>
                    <a:pt x="202" y="49"/>
                  </a:cubicBezTo>
                  <a:cubicBezTo>
                    <a:pt x="202" y="49"/>
                    <a:pt x="202" y="49"/>
                    <a:pt x="202" y="49"/>
                  </a:cubicBezTo>
                  <a:moveTo>
                    <a:pt x="182" y="43"/>
                  </a:moveTo>
                  <a:cubicBezTo>
                    <a:pt x="159" y="20"/>
                    <a:pt x="159" y="20"/>
                    <a:pt x="159" y="20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9" y="42"/>
                    <a:pt x="161" y="43"/>
                    <a:pt x="163" y="43"/>
                  </a:cubicBezTo>
                  <a:lnTo>
                    <a:pt x="182" y="43"/>
                  </a:lnTo>
                  <a:close/>
                  <a:moveTo>
                    <a:pt x="70" y="158"/>
                  </a:moveTo>
                  <a:cubicBezTo>
                    <a:pt x="137" y="158"/>
                    <a:pt x="137" y="158"/>
                    <a:pt x="137" y="158"/>
                  </a:cubicBezTo>
                  <a:cubicBezTo>
                    <a:pt x="137" y="150"/>
                    <a:pt x="137" y="150"/>
                    <a:pt x="137" y="150"/>
                  </a:cubicBezTo>
                  <a:cubicBezTo>
                    <a:pt x="70" y="150"/>
                    <a:pt x="70" y="150"/>
                    <a:pt x="70" y="150"/>
                  </a:cubicBezTo>
                  <a:lnTo>
                    <a:pt x="70" y="158"/>
                  </a:lnTo>
                  <a:close/>
                  <a:moveTo>
                    <a:pt x="177" y="101"/>
                  </a:moveTo>
                  <a:cubicBezTo>
                    <a:pt x="103" y="101"/>
                    <a:pt x="103" y="101"/>
                    <a:pt x="103" y="101"/>
                  </a:cubicBezTo>
                  <a:cubicBezTo>
                    <a:pt x="103" y="103"/>
                    <a:pt x="103" y="106"/>
                    <a:pt x="102" y="109"/>
                  </a:cubicBezTo>
                  <a:cubicBezTo>
                    <a:pt x="177" y="109"/>
                    <a:pt x="177" y="109"/>
                    <a:pt x="177" y="109"/>
                  </a:cubicBezTo>
                  <a:lnTo>
                    <a:pt x="177" y="101"/>
                  </a:lnTo>
                  <a:close/>
                  <a:moveTo>
                    <a:pt x="177" y="125"/>
                  </a:moveTo>
                  <a:cubicBezTo>
                    <a:pt x="95" y="125"/>
                    <a:pt x="95" y="125"/>
                    <a:pt x="95" y="125"/>
                  </a:cubicBezTo>
                  <a:cubicBezTo>
                    <a:pt x="93" y="128"/>
                    <a:pt x="91" y="131"/>
                    <a:pt x="89" y="133"/>
                  </a:cubicBezTo>
                  <a:cubicBezTo>
                    <a:pt x="177" y="133"/>
                    <a:pt x="177" y="133"/>
                    <a:pt x="177" y="133"/>
                  </a:cubicBezTo>
                  <a:lnTo>
                    <a:pt x="177" y="125"/>
                  </a:lnTo>
                  <a:close/>
                </a:path>
              </a:pathLst>
            </a:custGeom>
            <a:solidFill>
              <a:srgbClr val="DAC3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8" name="Freeform 94"/>
            <p:cNvSpPr>
              <a:spLocks noEditPoints="1"/>
            </p:cNvSpPr>
            <p:nvPr/>
          </p:nvSpPr>
          <p:spPr bwMode="auto">
            <a:xfrm>
              <a:off x="1655850" y="1830653"/>
              <a:ext cx="772895" cy="733416"/>
            </a:xfrm>
            <a:custGeom>
              <a:avLst/>
              <a:gdLst>
                <a:gd name="T0" fmla="*/ 131 w 215"/>
                <a:gd name="T1" fmla="*/ 204 h 204"/>
                <a:gd name="T2" fmla="*/ 131 w 215"/>
                <a:gd name="T3" fmla="*/ 183 h 204"/>
                <a:gd name="T4" fmla="*/ 16 w 215"/>
                <a:gd name="T5" fmla="*/ 74 h 204"/>
                <a:gd name="T6" fmla="*/ 74 w 215"/>
                <a:gd name="T7" fmla="*/ 16 h 204"/>
                <a:gd name="T8" fmla="*/ 81 w 215"/>
                <a:gd name="T9" fmla="*/ 70 h 204"/>
                <a:gd name="T10" fmla="*/ 88 w 215"/>
                <a:gd name="T11" fmla="*/ 69 h 204"/>
                <a:gd name="T12" fmla="*/ 128 w 215"/>
                <a:gd name="T13" fmla="*/ 116 h 204"/>
                <a:gd name="T14" fmla="*/ 128 w 215"/>
                <a:gd name="T15" fmla="*/ 117 h 204"/>
                <a:gd name="T16" fmla="*/ 121 w 215"/>
                <a:gd name="T17" fmla="*/ 128 h 204"/>
                <a:gd name="T18" fmla="*/ 117 w 215"/>
                <a:gd name="T19" fmla="*/ 128 h 204"/>
                <a:gd name="T20" fmla="*/ 110 w 215"/>
                <a:gd name="T21" fmla="*/ 128 h 204"/>
                <a:gd name="T22" fmla="*/ 69 w 215"/>
                <a:gd name="T23" fmla="*/ 82 h 204"/>
                <a:gd name="T24" fmla="*/ 68 w 215"/>
                <a:gd name="T25" fmla="*/ 79 h 204"/>
                <a:gd name="T26" fmla="*/ 26 w 215"/>
                <a:gd name="T27" fmla="*/ 65 h 204"/>
                <a:gd name="T28" fmla="*/ 65 w 215"/>
                <a:gd name="T29" fmla="*/ 26 h 204"/>
                <a:gd name="T30" fmla="*/ 26 w 215"/>
                <a:gd name="T31" fmla="*/ 65 h 204"/>
                <a:gd name="T32" fmla="*/ 35 w 215"/>
                <a:gd name="T33" fmla="*/ 194 h 204"/>
                <a:gd name="T34" fmla="*/ 56 w 215"/>
                <a:gd name="T35" fmla="*/ 194 h 204"/>
                <a:gd name="T36" fmla="*/ 209 w 215"/>
                <a:gd name="T37" fmla="*/ 60 h 204"/>
                <a:gd name="T38" fmla="*/ 180 w 215"/>
                <a:gd name="T39" fmla="*/ 62 h 204"/>
                <a:gd name="T40" fmla="*/ 168 w 215"/>
                <a:gd name="T41" fmla="*/ 65 h 204"/>
                <a:gd name="T42" fmla="*/ 35 w 215"/>
                <a:gd name="T43" fmla="*/ 148 h 204"/>
                <a:gd name="T44" fmla="*/ 6 w 215"/>
                <a:gd name="T45" fmla="*/ 90 h 204"/>
                <a:gd name="T46" fmla="*/ 29 w 215"/>
                <a:gd name="T47" fmla="*/ 153 h 204"/>
                <a:gd name="T48" fmla="*/ 23 w 215"/>
                <a:gd name="T49" fmla="*/ 178 h 204"/>
                <a:gd name="T50" fmla="*/ 153 w 215"/>
                <a:gd name="T51" fmla="*/ 179 h 204"/>
                <a:gd name="T52" fmla="*/ 153 w 215"/>
                <a:gd name="T53" fmla="*/ 172 h 204"/>
                <a:gd name="T54" fmla="*/ 35 w 215"/>
                <a:gd name="T55" fmla="*/ 156 h 204"/>
                <a:gd name="T56" fmla="*/ 153 w 215"/>
                <a:gd name="T57" fmla="*/ 140 h 204"/>
                <a:gd name="T58" fmla="*/ 180 w 215"/>
                <a:gd name="T59" fmla="*/ 69 h 204"/>
                <a:gd name="T60" fmla="*/ 209 w 215"/>
                <a:gd name="T61" fmla="*/ 71 h 204"/>
                <a:gd name="T62" fmla="*/ 209 w 215"/>
                <a:gd name="T63" fmla="*/ 6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5" h="204">
                  <a:moveTo>
                    <a:pt x="141" y="194"/>
                  </a:moveTo>
                  <a:cubicBezTo>
                    <a:pt x="141" y="200"/>
                    <a:pt x="137" y="204"/>
                    <a:pt x="131" y="204"/>
                  </a:cubicBezTo>
                  <a:cubicBezTo>
                    <a:pt x="125" y="204"/>
                    <a:pt x="120" y="200"/>
                    <a:pt x="120" y="194"/>
                  </a:cubicBezTo>
                  <a:cubicBezTo>
                    <a:pt x="120" y="188"/>
                    <a:pt x="125" y="183"/>
                    <a:pt x="131" y="183"/>
                  </a:cubicBezTo>
                  <a:cubicBezTo>
                    <a:pt x="137" y="183"/>
                    <a:pt x="141" y="188"/>
                    <a:pt x="141" y="194"/>
                  </a:cubicBezTo>
                  <a:close/>
                  <a:moveTo>
                    <a:pt x="16" y="74"/>
                  </a:moveTo>
                  <a:cubicBezTo>
                    <a:pt x="0" y="58"/>
                    <a:pt x="0" y="32"/>
                    <a:pt x="16" y="16"/>
                  </a:cubicBezTo>
                  <a:cubicBezTo>
                    <a:pt x="32" y="0"/>
                    <a:pt x="58" y="0"/>
                    <a:pt x="74" y="16"/>
                  </a:cubicBezTo>
                  <a:cubicBezTo>
                    <a:pt x="89" y="30"/>
                    <a:pt x="90" y="52"/>
                    <a:pt x="79" y="68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3" y="68"/>
                    <a:pt x="86" y="68"/>
                    <a:pt x="88" y="69"/>
                  </a:cubicBezTo>
                  <a:cubicBezTo>
                    <a:pt x="128" y="110"/>
                    <a:pt x="128" y="110"/>
                    <a:pt x="128" y="110"/>
                  </a:cubicBezTo>
                  <a:cubicBezTo>
                    <a:pt x="130" y="112"/>
                    <a:pt x="130" y="115"/>
                    <a:pt x="128" y="116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9" y="118"/>
                    <a:pt x="129" y="120"/>
                    <a:pt x="128" y="121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20" y="129"/>
                    <a:pt x="118" y="129"/>
                    <a:pt x="117" y="128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5" y="130"/>
                    <a:pt x="112" y="130"/>
                    <a:pt x="110" y="128"/>
                  </a:cubicBezTo>
                  <a:cubicBezTo>
                    <a:pt x="69" y="88"/>
                    <a:pt x="69" y="88"/>
                    <a:pt x="69" y="88"/>
                  </a:cubicBezTo>
                  <a:cubicBezTo>
                    <a:pt x="68" y="86"/>
                    <a:pt x="68" y="83"/>
                    <a:pt x="69" y="82"/>
                  </a:cubicBezTo>
                  <a:cubicBezTo>
                    <a:pt x="70" y="81"/>
                    <a:pt x="70" y="81"/>
                    <a:pt x="70" y="81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52" y="90"/>
                    <a:pt x="30" y="88"/>
                    <a:pt x="16" y="74"/>
                  </a:cubicBezTo>
                  <a:close/>
                  <a:moveTo>
                    <a:pt x="26" y="65"/>
                  </a:moveTo>
                  <a:cubicBezTo>
                    <a:pt x="37" y="75"/>
                    <a:pt x="54" y="75"/>
                    <a:pt x="65" y="65"/>
                  </a:cubicBezTo>
                  <a:cubicBezTo>
                    <a:pt x="75" y="54"/>
                    <a:pt x="75" y="36"/>
                    <a:pt x="65" y="26"/>
                  </a:cubicBezTo>
                  <a:cubicBezTo>
                    <a:pt x="54" y="15"/>
                    <a:pt x="37" y="15"/>
                    <a:pt x="26" y="26"/>
                  </a:cubicBezTo>
                  <a:cubicBezTo>
                    <a:pt x="15" y="36"/>
                    <a:pt x="15" y="54"/>
                    <a:pt x="26" y="65"/>
                  </a:cubicBezTo>
                  <a:close/>
                  <a:moveTo>
                    <a:pt x="45" y="183"/>
                  </a:moveTo>
                  <a:cubicBezTo>
                    <a:pt x="39" y="183"/>
                    <a:pt x="35" y="188"/>
                    <a:pt x="35" y="194"/>
                  </a:cubicBezTo>
                  <a:cubicBezTo>
                    <a:pt x="35" y="200"/>
                    <a:pt x="39" y="204"/>
                    <a:pt x="45" y="204"/>
                  </a:cubicBezTo>
                  <a:cubicBezTo>
                    <a:pt x="51" y="204"/>
                    <a:pt x="56" y="200"/>
                    <a:pt x="56" y="194"/>
                  </a:cubicBezTo>
                  <a:cubicBezTo>
                    <a:pt x="56" y="188"/>
                    <a:pt x="51" y="183"/>
                    <a:pt x="45" y="183"/>
                  </a:cubicBezTo>
                  <a:close/>
                  <a:moveTo>
                    <a:pt x="209" y="60"/>
                  </a:moveTo>
                  <a:cubicBezTo>
                    <a:pt x="184" y="60"/>
                    <a:pt x="184" y="60"/>
                    <a:pt x="184" y="60"/>
                  </a:cubicBezTo>
                  <a:cubicBezTo>
                    <a:pt x="183" y="60"/>
                    <a:pt x="181" y="61"/>
                    <a:pt x="180" y="62"/>
                  </a:cubicBezTo>
                  <a:cubicBezTo>
                    <a:pt x="172" y="62"/>
                    <a:pt x="172" y="62"/>
                    <a:pt x="172" y="62"/>
                  </a:cubicBezTo>
                  <a:cubicBezTo>
                    <a:pt x="170" y="62"/>
                    <a:pt x="169" y="63"/>
                    <a:pt x="168" y="65"/>
                  </a:cubicBezTo>
                  <a:cubicBezTo>
                    <a:pt x="147" y="136"/>
                    <a:pt x="147" y="136"/>
                    <a:pt x="147" y="136"/>
                  </a:cubicBezTo>
                  <a:cubicBezTo>
                    <a:pt x="35" y="148"/>
                    <a:pt x="35" y="148"/>
                    <a:pt x="35" y="148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1" y="91"/>
                    <a:pt x="8" y="90"/>
                    <a:pt x="6" y="90"/>
                  </a:cubicBezTo>
                  <a:cubicBezTo>
                    <a:pt x="5" y="91"/>
                    <a:pt x="4" y="94"/>
                    <a:pt x="4" y="96"/>
                  </a:cubicBezTo>
                  <a:cubicBezTo>
                    <a:pt x="29" y="153"/>
                    <a:pt x="29" y="153"/>
                    <a:pt x="29" y="153"/>
                  </a:cubicBezTo>
                  <a:cubicBezTo>
                    <a:pt x="23" y="174"/>
                    <a:pt x="23" y="174"/>
                    <a:pt x="23" y="174"/>
                  </a:cubicBezTo>
                  <a:cubicBezTo>
                    <a:pt x="22" y="175"/>
                    <a:pt x="22" y="177"/>
                    <a:pt x="23" y="178"/>
                  </a:cubicBezTo>
                  <a:cubicBezTo>
                    <a:pt x="24" y="179"/>
                    <a:pt x="25" y="179"/>
                    <a:pt x="26" y="179"/>
                  </a:cubicBezTo>
                  <a:cubicBezTo>
                    <a:pt x="153" y="179"/>
                    <a:pt x="153" y="179"/>
                    <a:pt x="153" y="179"/>
                  </a:cubicBezTo>
                  <a:cubicBezTo>
                    <a:pt x="155" y="179"/>
                    <a:pt x="157" y="178"/>
                    <a:pt x="157" y="175"/>
                  </a:cubicBezTo>
                  <a:cubicBezTo>
                    <a:pt x="157" y="173"/>
                    <a:pt x="155" y="172"/>
                    <a:pt x="153" y="172"/>
                  </a:cubicBezTo>
                  <a:cubicBezTo>
                    <a:pt x="32" y="172"/>
                    <a:pt x="32" y="172"/>
                    <a:pt x="32" y="172"/>
                  </a:cubicBezTo>
                  <a:cubicBezTo>
                    <a:pt x="35" y="156"/>
                    <a:pt x="35" y="156"/>
                    <a:pt x="35" y="156"/>
                  </a:cubicBezTo>
                  <a:cubicBezTo>
                    <a:pt x="150" y="143"/>
                    <a:pt x="150" y="143"/>
                    <a:pt x="150" y="143"/>
                  </a:cubicBezTo>
                  <a:cubicBezTo>
                    <a:pt x="152" y="143"/>
                    <a:pt x="153" y="142"/>
                    <a:pt x="153" y="140"/>
                  </a:cubicBezTo>
                  <a:cubicBezTo>
                    <a:pt x="175" y="69"/>
                    <a:pt x="175" y="69"/>
                    <a:pt x="175" y="69"/>
                  </a:cubicBezTo>
                  <a:cubicBezTo>
                    <a:pt x="180" y="69"/>
                    <a:pt x="180" y="69"/>
                    <a:pt x="180" y="69"/>
                  </a:cubicBezTo>
                  <a:cubicBezTo>
                    <a:pt x="181" y="71"/>
                    <a:pt x="183" y="71"/>
                    <a:pt x="184" y="71"/>
                  </a:cubicBezTo>
                  <a:cubicBezTo>
                    <a:pt x="209" y="71"/>
                    <a:pt x="209" y="71"/>
                    <a:pt x="209" y="71"/>
                  </a:cubicBezTo>
                  <a:cubicBezTo>
                    <a:pt x="213" y="71"/>
                    <a:pt x="215" y="69"/>
                    <a:pt x="215" y="66"/>
                  </a:cubicBezTo>
                  <a:cubicBezTo>
                    <a:pt x="215" y="62"/>
                    <a:pt x="213" y="60"/>
                    <a:pt x="209" y="60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4342408" y="5819024"/>
            <a:ext cx="1092666" cy="661523"/>
            <a:chOff x="2448795" y="2889786"/>
            <a:chExt cx="1172328" cy="709752"/>
          </a:xfrm>
        </p:grpSpPr>
        <p:sp>
          <p:nvSpPr>
            <p:cNvPr id="60" name="Freeform 59"/>
            <p:cNvSpPr>
              <a:spLocks noEditPoints="1"/>
            </p:cNvSpPr>
            <p:nvPr/>
          </p:nvSpPr>
          <p:spPr bwMode="auto">
            <a:xfrm>
              <a:off x="2765589" y="2889786"/>
              <a:ext cx="531520" cy="709752"/>
            </a:xfrm>
            <a:custGeom>
              <a:avLst/>
              <a:gdLst>
                <a:gd name="T0" fmla="*/ 23 w 141"/>
                <a:gd name="T1" fmla="*/ 69 h 189"/>
                <a:gd name="T2" fmla="*/ 35 w 141"/>
                <a:gd name="T3" fmla="*/ 57 h 189"/>
                <a:gd name="T4" fmla="*/ 35 w 141"/>
                <a:gd name="T5" fmla="*/ 79 h 189"/>
                <a:gd name="T6" fmla="*/ 23 w 141"/>
                <a:gd name="T7" fmla="*/ 92 h 189"/>
                <a:gd name="T8" fmla="*/ 35 w 141"/>
                <a:gd name="T9" fmla="*/ 79 h 189"/>
                <a:gd name="T10" fmla="*/ 23 w 141"/>
                <a:gd name="T11" fmla="*/ 101 h 189"/>
                <a:gd name="T12" fmla="*/ 35 w 141"/>
                <a:gd name="T13" fmla="*/ 114 h 189"/>
                <a:gd name="T14" fmla="*/ 35 w 141"/>
                <a:gd name="T15" fmla="*/ 123 h 189"/>
                <a:gd name="T16" fmla="*/ 23 w 141"/>
                <a:gd name="T17" fmla="*/ 136 h 189"/>
                <a:gd name="T18" fmla="*/ 35 w 141"/>
                <a:gd name="T19" fmla="*/ 123 h 189"/>
                <a:gd name="T20" fmla="*/ 35 w 141"/>
                <a:gd name="T21" fmla="*/ 158 h 189"/>
                <a:gd name="T22" fmla="*/ 23 w 141"/>
                <a:gd name="T23" fmla="*/ 146 h 189"/>
                <a:gd name="T24" fmla="*/ 44 w 141"/>
                <a:gd name="T25" fmla="*/ 158 h 189"/>
                <a:gd name="T26" fmla="*/ 119 w 141"/>
                <a:gd name="T27" fmla="*/ 151 h 189"/>
                <a:gd name="T28" fmla="*/ 44 w 141"/>
                <a:gd name="T29" fmla="*/ 158 h 189"/>
                <a:gd name="T30" fmla="*/ 44 w 141"/>
                <a:gd name="T31" fmla="*/ 129 h 189"/>
                <a:gd name="T32" fmla="*/ 119 w 141"/>
                <a:gd name="T33" fmla="*/ 136 h 189"/>
                <a:gd name="T34" fmla="*/ 119 w 141"/>
                <a:gd name="T35" fmla="*/ 107 h 189"/>
                <a:gd name="T36" fmla="*/ 44 w 141"/>
                <a:gd name="T37" fmla="*/ 114 h 189"/>
                <a:gd name="T38" fmla="*/ 119 w 141"/>
                <a:gd name="T39" fmla="*/ 107 h 189"/>
                <a:gd name="T40" fmla="*/ 44 w 141"/>
                <a:gd name="T41" fmla="*/ 62 h 189"/>
                <a:gd name="T42" fmla="*/ 119 w 141"/>
                <a:gd name="T43" fmla="*/ 69 h 189"/>
                <a:gd name="T44" fmla="*/ 119 w 141"/>
                <a:gd name="T45" fmla="*/ 84 h 189"/>
                <a:gd name="T46" fmla="*/ 44 w 141"/>
                <a:gd name="T47" fmla="*/ 92 h 189"/>
                <a:gd name="T48" fmla="*/ 119 w 141"/>
                <a:gd name="T49" fmla="*/ 84 h 189"/>
                <a:gd name="T50" fmla="*/ 59 w 141"/>
                <a:gd name="T51" fmla="*/ 12 h 189"/>
                <a:gd name="T52" fmla="*/ 82 w 141"/>
                <a:gd name="T53" fmla="*/ 12 h 189"/>
                <a:gd name="T54" fmla="*/ 115 w 141"/>
                <a:gd name="T55" fmla="*/ 37 h 189"/>
                <a:gd name="T56" fmla="*/ 37 w 141"/>
                <a:gd name="T57" fmla="*/ 23 h 189"/>
                <a:gd name="T58" fmla="*/ 71 w 141"/>
                <a:gd name="T59" fmla="*/ 15 h 189"/>
                <a:gd name="T60" fmla="*/ 71 w 141"/>
                <a:gd name="T61" fmla="*/ 9 h 189"/>
                <a:gd name="T62" fmla="*/ 132 w 141"/>
                <a:gd name="T63" fmla="*/ 16 h 189"/>
                <a:gd name="T64" fmla="*/ 106 w 141"/>
                <a:gd name="T65" fmla="*/ 18 h 189"/>
                <a:gd name="T66" fmla="*/ 130 w 141"/>
                <a:gd name="T67" fmla="*/ 27 h 189"/>
                <a:gd name="T68" fmla="*/ 11 w 141"/>
                <a:gd name="T69" fmla="*/ 178 h 189"/>
                <a:gd name="T70" fmla="*/ 24 w 141"/>
                <a:gd name="T71" fmla="*/ 27 h 189"/>
                <a:gd name="T72" fmla="*/ 43 w 141"/>
                <a:gd name="T73" fmla="*/ 16 h 189"/>
                <a:gd name="T74" fmla="*/ 0 w 141"/>
                <a:gd name="T75" fmla="*/ 25 h 189"/>
                <a:gd name="T76" fmla="*/ 9 w 141"/>
                <a:gd name="T77" fmla="*/ 189 h 189"/>
                <a:gd name="T78" fmla="*/ 141 w 141"/>
                <a:gd name="T79" fmla="*/ 180 h 189"/>
                <a:gd name="T80" fmla="*/ 132 w 141"/>
                <a:gd name="T81" fmla="*/ 1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89">
                  <a:moveTo>
                    <a:pt x="35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35" y="57"/>
                    <a:pt x="35" y="57"/>
                    <a:pt x="35" y="57"/>
                  </a:cubicBezTo>
                  <a:lnTo>
                    <a:pt x="35" y="69"/>
                  </a:lnTo>
                  <a:close/>
                  <a:moveTo>
                    <a:pt x="35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35" y="92"/>
                    <a:pt x="35" y="92"/>
                    <a:pt x="35" y="92"/>
                  </a:cubicBezTo>
                  <a:lnTo>
                    <a:pt x="35" y="79"/>
                  </a:lnTo>
                  <a:close/>
                  <a:moveTo>
                    <a:pt x="35" y="101"/>
                  </a:moveTo>
                  <a:cubicBezTo>
                    <a:pt x="23" y="101"/>
                    <a:pt x="23" y="101"/>
                    <a:pt x="23" y="101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35" y="114"/>
                    <a:pt x="35" y="114"/>
                    <a:pt x="35" y="114"/>
                  </a:cubicBezTo>
                  <a:lnTo>
                    <a:pt x="35" y="101"/>
                  </a:lnTo>
                  <a:close/>
                  <a:moveTo>
                    <a:pt x="35" y="123"/>
                  </a:moveTo>
                  <a:cubicBezTo>
                    <a:pt x="23" y="123"/>
                    <a:pt x="23" y="123"/>
                    <a:pt x="23" y="123"/>
                  </a:cubicBezTo>
                  <a:cubicBezTo>
                    <a:pt x="23" y="136"/>
                    <a:pt x="23" y="136"/>
                    <a:pt x="23" y="136"/>
                  </a:cubicBezTo>
                  <a:cubicBezTo>
                    <a:pt x="35" y="136"/>
                    <a:pt x="35" y="136"/>
                    <a:pt x="35" y="136"/>
                  </a:cubicBezTo>
                  <a:lnTo>
                    <a:pt x="35" y="123"/>
                  </a:lnTo>
                  <a:close/>
                  <a:moveTo>
                    <a:pt x="23" y="158"/>
                  </a:moveTo>
                  <a:cubicBezTo>
                    <a:pt x="35" y="158"/>
                    <a:pt x="35" y="158"/>
                    <a:pt x="35" y="158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23" y="146"/>
                    <a:pt x="23" y="146"/>
                    <a:pt x="23" y="146"/>
                  </a:cubicBezTo>
                  <a:lnTo>
                    <a:pt x="23" y="158"/>
                  </a:lnTo>
                  <a:close/>
                  <a:moveTo>
                    <a:pt x="44" y="158"/>
                  </a:moveTo>
                  <a:cubicBezTo>
                    <a:pt x="119" y="158"/>
                    <a:pt x="119" y="158"/>
                    <a:pt x="119" y="158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44" y="151"/>
                    <a:pt x="44" y="151"/>
                    <a:pt x="44" y="151"/>
                  </a:cubicBezTo>
                  <a:lnTo>
                    <a:pt x="44" y="158"/>
                  </a:lnTo>
                  <a:close/>
                  <a:moveTo>
                    <a:pt x="119" y="129"/>
                  </a:moveTo>
                  <a:cubicBezTo>
                    <a:pt x="44" y="129"/>
                    <a:pt x="44" y="129"/>
                    <a:pt x="44" y="129"/>
                  </a:cubicBezTo>
                  <a:cubicBezTo>
                    <a:pt x="44" y="136"/>
                    <a:pt x="44" y="136"/>
                    <a:pt x="44" y="136"/>
                  </a:cubicBezTo>
                  <a:cubicBezTo>
                    <a:pt x="119" y="136"/>
                    <a:pt x="119" y="136"/>
                    <a:pt x="119" y="136"/>
                  </a:cubicBezTo>
                  <a:lnTo>
                    <a:pt x="119" y="129"/>
                  </a:lnTo>
                  <a:close/>
                  <a:moveTo>
                    <a:pt x="119" y="107"/>
                  </a:moveTo>
                  <a:cubicBezTo>
                    <a:pt x="44" y="107"/>
                    <a:pt x="44" y="107"/>
                    <a:pt x="44" y="107"/>
                  </a:cubicBezTo>
                  <a:cubicBezTo>
                    <a:pt x="44" y="114"/>
                    <a:pt x="44" y="114"/>
                    <a:pt x="44" y="114"/>
                  </a:cubicBezTo>
                  <a:cubicBezTo>
                    <a:pt x="119" y="114"/>
                    <a:pt x="119" y="114"/>
                    <a:pt x="119" y="114"/>
                  </a:cubicBezTo>
                  <a:lnTo>
                    <a:pt x="119" y="107"/>
                  </a:lnTo>
                  <a:close/>
                  <a:moveTo>
                    <a:pt x="119" y="62"/>
                  </a:moveTo>
                  <a:cubicBezTo>
                    <a:pt x="44" y="62"/>
                    <a:pt x="44" y="62"/>
                    <a:pt x="44" y="62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119" y="69"/>
                    <a:pt x="119" y="69"/>
                    <a:pt x="119" y="69"/>
                  </a:cubicBezTo>
                  <a:lnTo>
                    <a:pt x="119" y="62"/>
                  </a:lnTo>
                  <a:close/>
                  <a:moveTo>
                    <a:pt x="119" y="84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119" y="92"/>
                    <a:pt x="119" y="92"/>
                    <a:pt x="119" y="92"/>
                  </a:cubicBezTo>
                  <a:lnTo>
                    <a:pt x="119" y="84"/>
                  </a:lnTo>
                  <a:close/>
                  <a:moveTo>
                    <a:pt x="37" y="23"/>
                  </a:moveTo>
                  <a:cubicBezTo>
                    <a:pt x="56" y="18"/>
                    <a:pt x="59" y="16"/>
                    <a:pt x="59" y="12"/>
                  </a:cubicBezTo>
                  <a:cubicBezTo>
                    <a:pt x="59" y="5"/>
                    <a:pt x="64" y="0"/>
                    <a:pt x="71" y="0"/>
                  </a:cubicBezTo>
                  <a:cubicBezTo>
                    <a:pt x="77" y="0"/>
                    <a:pt x="82" y="5"/>
                    <a:pt x="82" y="12"/>
                  </a:cubicBezTo>
                  <a:cubicBezTo>
                    <a:pt x="82" y="16"/>
                    <a:pt x="85" y="18"/>
                    <a:pt x="104" y="23"/>
                  </a:cubicBezTo>
                  <a:cubicBezTo>
                    <a:pt x="115" y="26"/>
                    <a:pt x="115" y="37"/>
                    <a:pt x="115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6" y="26"/>
                    <a:pt x="37" y="23"/>
                  </a:cubicBezTo>
                  <a:moveTo>
                    <a:pt x="68" y="12"/>
                  </a:moveTo>
                  <a:cubicBezTo>
                    <a:pt x="68" y="13"/>
                    <a:pt x="69" y="15"/>
                    <a:pt x="71" y="15"/>
                  </a:cubicBezTo>
                  <a:cubicBezTo>
                    <a:pt x="72" y="15"/>
                    <a:pt x="74" y="13"/>
                    <a:pt x="74" y="12"/>
                  </a:cubicBezTo>
                  <a:cubicBezTo>
                    <a:pt x="74" y="10"/>
                    <a:pt x="72" y="9"/>
                    <a:pt x="71" y="9"/>
                  </a:cubicBezTo>
                  <a:cubicBezTo>
                    <a:pt x="69" y="9"/>
                    <a:pt x="68" y="10"/>
                    <a:pt x="68" y="12"/>
                  </a:cubicBezTo>
                  <a:moveTo>
                    <a:pt x="132" y="16"/>
                  </a:moveTo>
                  <a:cubicBezTo>
                    <a:pt x="99" y="16"/>
                    <a:pt x="99" y="16"/>
                    <a:pt x="99" y="16"/>
                  </a:cubicBezTo>
                  <a:cubicBezTo>
                    <a:pt x="101" y="17"/>
                    <a:pt x="103" y="17"/>
                    <a:pt x="106" y="18"/>
                  </a:cubicBezTo>
                  <a:cubicBezTo>
                    <a:pt x="112" y="20"/>
                    <a:pt x="115" y="23"/>
                    <a:pt x="118" y="27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1" y="178"/>
                    <a:pt x="11" y="178"/>
                    <a:pt x="11" y="178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6" y="23"/>
                    <a:pt x="30" y="20"/>
                    <a:pt x="36" y="18"/>
                  </a:cubicBezTo>
                  <a:cubicBezTo>
                    <a:pt x="38" y="17"/>
                    <a:pt x="41" y="17"/>
                    <a:pt x="43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4" y="16"/>
                    <a:pt x="0" y="20"/>
                    <a:pt x="0" y="2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85"/>
                    <a:pt x="4" y="189"/>
                    <a:pt x="9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7" y="189"/>
                    <a:pt x="141" y="185"/>
                    <a:pt x="141" y="180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0"/>
                    <a:pt x="137" y="16"/>
                    <a:pt x="132" y="16"/>
                  </a:cubicBezTo>
                </a:path>
              </a:pathLst>
            </a:custGeom>
            <a:solidFill>
              <a:srgbClr val="3E3C4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d-ID"/>
              </a:defPPr>
              <a:lvl1pPr marL="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144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288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7432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576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45720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4864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4008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315200" algn="l" defTabSz="1828800" rtl="0" eaLnBrk="1" latinLnBrk="0" hangingPunct="1"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 rot="18900000">
              <a:off x="3230639" y="3088751"/>
              <a:ext cx="390484" cy="380766"/>
            </a:xfrm>
            <a:custGeom>
              <a:avLst/>
              <a:gdLst>
                <a:gd name="T0" fmla="*/ 64 w 187"/>
                <a:gd name="T1" fmla="*/ 82 h 182"/>
                <a:gd name="T2" fmla="*/ 74 w 187"/>
                <a:gd name="T3" fmla="*/ 92 h 182"/>
                <a:gd name="T4" fmla="*/ 59 w 187"/>
                <a:gd name="T5" fmla="*/ 99 h 182"/>
                <a:gd name="T6" fmla="*/ 47 w 187"/>
                <a:gd name="T7" fmla="*/ 95 h 182"/>
                <a:gd name="T8" fmla="*/ 7 w 187"/>
                <a:gd name="T9" fmla="*/ 54 h 182"/>
                <a:gd name="T10" fmla="*/ 9 w 187"/>
                <a:gd name="T11" fmla="*/ 27 h 182"/>
                <a:gd name="T12" fmla="*/ 30 w 187"/>
                <a:gd name="T13" fmla="*/ 7 h 182"/>
                <a:gd name="T14" fmla="*/ 46 w 187"/>
                <a:gd name="T15" fmla="*/ 0 h 182"/>
                <a:gd name="T16" fmla="*/ 57 w 187"/>
                <a:gd name="T17" fmla="*/ 4 h 182"/>
                <a:gd name="T18" fmla="*/ 97 w 187"/>
                <a:gd name="T19" fmla="*/ 44 h 182"/>
                <a:gd name="T20" fmla="*/ 95 w 187"/>
                <a:gd name="T21" fmla="*/ 72 h 182"/>
                <a:gd name="T22" fmla="*/ 85 w 187"/>
                <a:gd name="T23" fmla="*/ 61 h 182"/>
                <a:gd name="T24" fmla="*/ 87 w 187"/>
                <a:gd name="T25" fmla="*/ 55 h 182"/>
                <a:gd name="T26" fmla="*/ 47 w 187"/>
                <a:gd name="T27" fmla="*/ 14 h 182"/>
                <a:gd name="T28" fmla="*/ 46 w 187"/>
                <a:gd name="T29" fmla="*/ 14 h 182"/>
                <a:gd name="T30" fmla="*/ 40 w 187"/>
                <a:gd name="T31" fmla="*/ 17 h 182"/>
                <a:gd name="T32" fmla="*/ 20 w 187"/>
                <a:gd name="T33" fmla="*/ 37 h 182"/>
                <a:gd name="T34" fmla="*/ 17 w 187"/>
                <a:gd name="T35" fmla="*/ 44 h 182"/>
                <a:gd name="T36" fmla="*/ 58 w 187"/>
                <a:gd name="T37" fmla="*/ 84 h 182"/>
                <a:gd name="T38" fmla="*/ 64 w 187"/>
                <a:gd name="T39" fmla="*/ 82 h 182"/>
                <a:gd name="T40" fmla="*/ 180 w 187"/>
                <a:gd name="T41" fmla="*/ 127 h 182"/>
                <a:gd name="T42" fmla="*/ 140 w 187"/>
                <a:gd name="T43" fmla="*/ 87 h 182"/>
                <a:gd name="T44" fmla="*/ 128 w 187"/>
                <a:gd name="T45" fmla="*/ 82 h 182"/>
                <a:gd name="T46" fmla="*/ 113 w 187"/>
                <a:gd name="T47" fmla="*/ 89 h 182"/>
                <a:gd name="T48" fmla="*/ 123 w 187"/>
                <a:gd name="T49" fmla="*/ 100 h 182"/>
                <a:gd name="T50" fmla="*/ 128 w 187"/>
                <a:gd name="T51" fmla="*/ 97 h 182"/>
                <a:gd name="T52" fmla="*/ 129 w 187"/>
                <a:gd name="T53" fmla="*/ 97 h 182"/>
                <a:gd name="T54" fmla="*/ 170 w 187"/>
                <a:gd name="T55" fmla="*/ 138 h 182"/>
                <a:gd name="T56" fmla="*/ 167 w 187"/>
                <a:gd name="T57" fmla="*/ 144 h 182"/>
                <a:gd name="T58" fmla="*/ 147 w 187"/>
                <a:gd name="T59" fmla="*/ 165 h 182"/>
                <a:gd name="T60" fmla="*/ 140 w 187"/>
                <a:gd name="T61" fmla="*/ 167 h 182"/>
                <a:gd name="T62" fmla="*/ 100 w 187"/>
                <a:gd name="T63" fmla="*/ 127 h 182"/>
                <a:gd name="T64" fmla="*/ 102 w 187"/>
                <a:gd name="T65" fmla="*/ 120 h 182"/>
                <a:gd name="T66" fmla="*/ 92 w 187"/>
                <a:gd name="T67" fmla="*/ 110 h 182"/>
                <a:gd name="T68" fmla="*/ 90 w 187"/>
                <a:gd name="T69" fmla="*/ 137 h 182"/>
                <a:gd name="T70" fmla="*/ 130 w 187"/>
                <a:gd name="T71" fmla="*/ 177 h 182"/>
                <a:gd name="T72" fmla="*/ 141 w 187"/>
                <a:gd name="T73" fmla="*/ 182 h 182"/>
                <a:gd name="T74" fmla="*/ 141 w 187"/>
                <a:gd name="T75" fmla="*/ 182 h 182"/>
                <a:gd name="T76" fmla="*/ 157 w 187"/>
                <a:gd name="T77" fmla="*/ 175 h 182"/>
                <a:gd name="T78" fmla="*/ 178 w 187"/>
                <a:gd name="T79" fmla="*/ 155 h 182"/>
                <a:gd name="T80" fmla="*/ 180 w 187"/>
                <a:gd name="T81" fmla="*/ 127 h 182"/>
                <a:gd name="T82" fmla="*/ 60 w 187"/>
                <a:gd name="T83" fmla="*/ 57 h 182"/>
                <a:gd name="T84" fmla="*/ 60 w 187"/>
                <a:gd name="T85" fmla="*/ 70 h 182"/>
                <a:gd name="T86" fmla="*/ 114 w 187"/>
                <a:gd name="T87" fmla="*/ 124 h 182"/>
                <a:gd name="T88" fmla="*/ 121 w 187"/>
                <a:gd name="T89" fmla="*/ 127 h 182"/>
                <a:gd name="T90" fmla="*/ 127 w 187"/>
                <a:gd name="T91" fmla="*/ 124 h 182"/>
                <a:gd name="T92" fmla="*/ 127 w 187"/>
                <a:gd name="T93" fmla="*/ 112 h 182"/>
                <a:gd name="T94" fmla="*/ 73 w 187"/>
                <a:gd name="T95" fmla="*/ 57 h 182"/>
                <a:gd name="T96" fmla="*/ 60 w 187"/>
                <a:gd name="T97" fmla="*/ 5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7" h="182">
                  <a:moveTo>
                    <a:pt x="64" y="82"/>
                  </a:moveTo>
                  <a:cubicBezTo>
                    <a:pt x="74" y="92"/>
                    <a:pt x="74" y="92"/>
                    <a:pt x="74" y="92"/>
                  </a:cubicBezTo>
                  <a:cubicBezTo>
                    <a:pt x="70" y="97"/>
                    <a:pt x="64" y="99"/>
                    <a:pt x="59" y="99"/>
                  </a:cubicBezTo>
                  <a:cubicBezTo>
                    <a:pt x="54" y="99"/>
                    <a:pt x="50" y="98"/>
                    <a:pt x="47" y="9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47"/>
                    <a:pt x="1" y="35"/>
                    <a:pt x="9" y="2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4" y="2"/>
                    <a:pt x="40" y="0"/>
                    <a:pt x="46" y="0"/>
                  </a:cubicBezTo>
                  <a:cubicBezTo>
                    <a:pt x="50" y="0"/>
                    <a:pt x="54" y="1"/>
                    <a:pt x="57" y="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104" y="51"/>
                    <a:pt x="103" y="63"/>
                    <a:pt x="95" y="72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7" y="58"/>
                    <a:pt x="87" y="55"/>
                    <a:pt x="8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6" y="14"/>
                    <a:pt x="46" y="14"/>
                  </a:cubicBezTo>
                  <a:cubicBezTo>
                    <a:pt x="44" y="14"/>
                    <a:pt x="42" y="15"/>
                    <a:pt x="40" y="1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7" y="40"/>
                    <a:pt x="17" y="43"/>
                    <a:pt x="17" y="4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61" y="85"/>
                    <a:pt x="64" y="82"/>
                  </a:cubicBezTo>
                  <a:close/>
                  <a:moveTo>
                    <a:pt x="180" y="127"/>
                  </a:moveTo>
                  <a:cubicBezTo>
                    <a:pt x="140" y="87"/>
                    <a:pt x="140" y="87"/>
                    <a:pt x="140" y="87"/>
                  </a:cubicBezTo>
                  <a:cubicBezTo>
                    <a:pt x="137" y="84"/>
                    <a:pt x="133" y="82"/>
                    <a:pt x="128" y="82"/>
                  </a:cubicBezTo>
                  <a:cubicBezTo>
                    <a:pt x="123" y="82"/>
                    <a:pt x="117" y="85"/>
                    <a:pt x="113" y="89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25" y="98"/>
                    <a:pt x="127" y="97"/>
                    <a:pt x="128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0" y="138"/>
                    <a:pt x="170" y="141"/>
                    <a:pt x="167" y="144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4" y="167"/>
                    <a:pt x="141" y="167"/>
                    <a:pt x="140" y="167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100" y="126"/>
                    <a:pt x="100" y="123"/>
                    <a:pt x="102" y="120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84" y="118"/>
                    <a:pt x="83" y="130"/>
                    <a:pt x="90" y="137"/>
                  </a:cubicBezTo>
                  <a:cubicBezTo>
                    <a:pt x="130" y="177"/>
                    <a:pt x="130" y="177"/>
                    <a:pt x="130" y="177"/>
                  </a:cubicBezTo>
                  <a:cubicBezTo>
                    <a:pt x="133" y="180"/>
                    <a:pt x="137" y="182"/>
                    <a:pt x="141" y="182"/>
                  </a:cubicBezTo>
                  <a:cubicBezTo>
                    <a:pt x="141" y="182"/>
                    <a:pt x="141" y="182"/>
                    <a:pt x="141" y="182"/>
                  </a:cubicBezTo>
                  <a:cubicBezTo>
                    <a:pt x="147" y="182"/>
                    <a:pt x="153" y="179"/>
                    <a:pt x="157" y="175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86" y="146"/>
                    <a:pt x="187" y="134"/>
                    <a:pt x="180" y="127"/>
                  </a:cubicBezTo>
                  <a:close/>
                  <a:moveTo>
                    <a:pt x="60" y="57"/>
                  </a:moveTo>
                  <a:cubicBezTo>
                    <a:pt x="56" y="61"/>
                    <a:pt x="56" y="66"/>
                    <a:pt x="60" y="70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6" y="126"/>
                    <a:pt x="118" y="127"/>
                    <a:pt x="121" y="127"/>
                  </a:cubicBezTo>
                  <a:cubicBezTo>
                    <a:pt x="123" y="127"/>
                    <a:pt x="125" y="126"/>
                    <a:pt x="127" y="124"/>
                  </a:cubicBezTo>
                  <a:cubicBezTo>
                    <a:pt x="131" y="121"/>
                    <a:pt x="131" y="115"/>
                    <a:pt x="127" y="112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69" y="53"/>
                    <a:pt x="63" y="53"/>
                    <a:pt x="60" y="57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 rot="18900000">
              <a:off x="2448795" y="3088751"/>
              <a:ext cx="390484" cy="380766"/>
            </a:xfrm>
            <a:custGeom>
              <a:avLst/>
              <a:gdLst>
                <a:gd name="T0" fmla="*/ 64 w 187"/>
                <a:gd name="T1" fmla="*/ 82 h 182"/>
                <a:gd name="T2" fmla="*/ 74 w 187"/>
                <a:gd name="T3" fmla="*/ 92 h 182"/>
                <a:gd name="T4" fmla="*/ 59 w 187"/>
                <a:gd name="T5" fmla="*/ 99 h 182"/>
                <a:gd name="T6" fmla="*/ 47 w 187"/>
                <a:gd name="T7" fmla="*/ 95 h 182"/>
                <a:gd name="T8" fmla="*/ 7 w 187"/>
                <a:gd name="T9" fmla="*/ 54 h 182"/>
                <a:gd name="T10" fmla="*/ 9 w 187"/>
                <a:gd name="T11" fmla="*/ 27 h 182"/>
                <a:gd name="T12" fmla="*/ 30 w 187"/>
                <a:gd name="T13" fmla="*/ 7 h 182"/>
                <a:gd name="T14" fmla="*/ 46 w 187"/>
                <a:gd name="T15" fmla="*/ 0 h 182"/>
                <a:gd name="T16" fmla="*/ 57 w 187"/>
                <a:gd name="T17" fmla="*/ 4 h 182"/>
                <a:gd name="T18" fmla="*/ 97 w 187"/>
                <a:gd name="T19" fmla="*/ 44 h 182"/>
                <a:gd name="T20" fmla="*/ 95 w 187"/>
                <a:gd name="T21" fmla="*/ 72 h 182"/>
                <a:gd name="T22" fmla="*/ 85 w 187"/>
                <a:gd name="T23" fmla="*/ 61 h 182"/>
                <a:gd name="T24" fmla="*/ 87 w 187"/>
                <a:gd name="T25" fmla="*/ 55 h 182"/>
                <a:gd name="T26" fmla="*/ 47 w 187"/>
                <a:gd name="T27" fmla="*/ 14 h 182"/>
                <a:gd name="T28" fmla="*/ 46 w 187"/>
                <a:gd name="T29" fmla="*/ 14 h 182"/>
                <a:gd name="T30" fmla="*/ 40 w 187"/>
                <a:gd name="T31" fmla="*/ 17 h 182"/>
                <a:gd name="T32" fmla="*/ 20 w 187"/>
                <a:gd name="T33" fmla="*/ 37 h 182"/>
                <a:gd name="T34" fmla="*/ 17 w 187"/>
                <a:gd name="T35" fmla="*/ 44 h 182"/>
                <a:gd name="T36" fmla="*/ 58 w 187"/>
                <a:gd name="T37" fmla="*/ 84 h 182"/>
                <a:gd name="T38" fmla="*/ 64 w 187"/>
                <a:gd name="T39" fmla="*/ 82 h 182"/>
                <a:gd name="T40" fmla="*/ 180 w 187"/>
                <a:gd name="T41" fmla="*/ 127 h 182"/>
                <a:gd name="T42" fmla="*/ 140 w 187"/>
                <a:gd name="T43" fmla="*/ 87 h 182"/>
                <a:gd name="T44" fmla="*/ 128 w 187"/>
                <a:gd name="T45" fmla="*/ 82 h 182"/>
                <a:gd name="T46" fmla="*/ 113 w 187"/>
                <a:gd name="T47" fmla="*/ 89 h 182"/>
                <a:gd name="T48" fmla="*/ 123 w 187"/>
                <a:gd name="T49" fmla="*/ 100 h 182"/>
                <a:gd name="T50" fmla="*/ 128 w 187"/>
                <a:gd name="T51" fmla="*/ 97 h 182"/>
                <a:gd name="T52" fmla="*/ 129 w 187"/>
                <a:gd name="T53" fmla="*/ 97 h 182"/>
                <a:gd name="T54" fmla="*/ 170 w 187"/>
                <a:gd name="T55" fmla="*/ 138 h 182"/>
                <a:gd name="T56" fmla="*/ 167 w 187"/>
                <a:gd name="T57" fmla="*/ 144 h 182"/>
                <a:gd name="T58" fmla="*/ 147 w 187"/>
                <a:gd name="T59" fmla="*/ 165 h 182"/>
                <a:gd name="T60" fmla="*/ 140 w 187"/>
                <a:gd name="T61" fmla="*/ 167 h 182"/>
                <a:gd name="T62" fmla="*/ 100 w 187"/>
                <a:gd name="T63" fmla="*/ 127 h 182"/>
                <a:gd name="T64" fmla="*/ 102 w 187"/>
                <a:gd name="T65" fmla="*/ 120 h 182"/>
                <a:gd name="T66" fmla="*/ 92 w 187"/>
                <a:gd name="T67" fmla="*/ 110 h 182"/>
                <a:gd name="T68" fmla="*/ 90 w 187"/>
                <a:gd name="T69" fmla="*/ 137 h 182"/>
                <a:gd name="T70" fmla="*/ 130 w 187"/>
                <a:gd name="T71" fmla="*/ 177 h 182"/>
                <a:gd name="T72" fmla="*/ 141 w 187"/>
                <a:gd name="T73" fmla="*/ 182 h 182"/>
                <a:gd name="T74" fmla="*/ 141 w 187"/>
                <a:gd name="T75" fmla="*/ 182 h 182"/>
                <a:gd name="T76" fmla="*/ 157 w 187"/>
                <a:gd name="T77" fmla="*/ 175 h 182"/>
                <a:gd name="T78" fmla="*/ 178 w 187"/>
                <a:gd name="T79" fmla="*/ 155 h 182"/>
                <a:gd name="T80" fmla="*/ 180 w 187"/>
                <a:gd name="T81" fmla="*/ 127 h 182"/>
                <a:gd name="T82" fmla="*/ 60 w 187"/>
                <a:gd name="T83" fmla="*/ 57 h 182"/>
                <a:gd name="T84" fmla="*/ 60 w 187"/>
                <a:gd name="T85" fmla="*/ 70 h 182"/>
                <a:gd name="T86" fmla="*/ 114 w 187"/>
                <a:gd name="T87" fmla="*/ 124 h 182"/>
                <a:gd name="T88" fmla="*/ 121 w 187"/>
                <a:gd name="T89" fmla="*/ 127 h 182"/>
                <a:gd name="T90" fmla="*/ 127 w 187"/>
                <a:gd name="T91" fmla="*/ 124 h 182"/>
                <a:gd name="T92" fmla="*/ 127 w 187"/>
                <a:gd name="T93" fmla="*/ 112 h 182"/>
                <a:gd name="T94" fmla="*/ 73 w 187"/>
                <a:gd name="T95" fmla="*/ 57 h 182"/>
                <a:gd name="T96" fmla="*/ 60 w 187"/>
                <a:gd name="T97" fmla="*/ 5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7" h="182">
                  <a:moveTo>
                    <a:pt x="64" y="82"/>
                  </a:moveTo>
                  <a:cubicBezTo>
                    <a:pt x="74" y="92"/>
                    <a:pt x="74" y="92"/>
                    <a:pt x="74" y="92"/>
                  </a:cubicBezTo>
                  <a:cubicBezTo>
                    <a:pt x="70" y="97"/>
                    <a:pt x="64" y="99"/>
                    <a:pt x="59" y="99"/>
                  </a:cubicBezTo>
                  <a:cubicBezTo>
                    <a:pt x="54" y="99"/>
                    <a:pt x="50" y="98"/>
                    <a:pt x="47" y="9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47"/>
                    <a:pt x="1" y="35"/>
                    <a:pt x="9" y="2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4" y="2"/>
                    <a:pt x="40" y="0"/>
                    <a:pt x="46" y="0"/>
                  </a:cubicBezTo>
                  <a:cubicBezTo>
                    <a:pt x="50" y="0"/>
                    <a:pt x="54" y="1"/>
                    <a:pt x="57" y="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104" y="51"/>
                    <a:pt x="103" y="63"/>
                    <a:pt x="95" y="72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7" y="58"/>
                    <a:pt x="87" y="55"/>
                    <a:pt x="87" y="5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6" y="14"/>
                    <a:pt x="46" y="14"/>
                  </a:cubicBezTo>
                  <a:cubicBezTo>
                    <a:pt x="44" y="14"/>
                    <a:pt x="42" y="15"/>
                    <a:pt x="40" y="1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7" y="40"/>
                    <a:pt x="17" y="43"/>
                    <a:pt x="17" y="4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61" y="85"/>
                    <a:pt x="64" y="82"/>
                  </a:cubicBezTo>
                  <a:close/>
                  <a:moveTo>
                    <a:pt x="180" y="127"/>
                  </a:moveTo>
                  <a:cubicBezTo>
                    <a:pt x="140" y="87"/>
                    <a:pt x="140" y="87"/>
                    <a:pt x="140" y="87"/>
                  </a:cubicBezTo>
                  <a:cubicBezTo>
                    <a:pt x="137" y="84"/>
                    <a:pt x="133" y="82"/>
                    <a:pt x="128" y="82"/>
                  </a:cubicBezTo>
                  <a:cubicBezTo>
                    <a:pt x="123" y="82"/>
                    <a:pt x="117" y="85"/>
                    <a:pt x="113" y="89"/>
                  </a:cubicBezTo>
                  <a:cubicBezTo>
                    <a:pt x="123" y="100"/>
                    <a:pt x="123" y="100"/>
                    <a:pt x="123" y="100"/>
                  </a:cubicBezTo>
                  <a:cubicBezTo>
                    <a:pt x="125" y="98"/>
                    <a:pt x="127" y="97"/>
                    <a:pt x="128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0" y="138"/>
                    <a:pt x="170" y="141"/>
                    <a:pt x="167" y="144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4" y="167"/>
                    <a:pt x="141" y="167"/>
                    <a:pt x="140" y="167"/>
                  </a:cubicBezTo>
                  <a:cubicBezTo>
                    <a:pt x="100" y="127"/>
                    <a:pt x="100" y="127"/>
                    <a:pt x="100" y="127"/>
                  </a:cubicBezTo>
                  <a:cubicBezTo>
                    <a:pt x="100" y="126"/>
                    <a:pt x="100" y="123"/>
                    <a:pt x="102" y="120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84" y="118"/>
                    <a:pt x="83" y="130"/>
                    <a:pt x="90" y="137"/>
                  </a:cubicBezTo>
                  <a:cubicBezTo>
                    <a:pt x="130" y="177"/>
                    <a:pt x="130" y="177"/>
                    <a:pt x="130" y="177"/>
                  </a:cubicBezTo>
                  <a:cubicBezTo>
                    <a:pt x="133" y="180"/>
                    <a:pt x="137" y="182"/>
                    <a:pt x="141" y="182"/>
                  </a:cubicBezTo>
                  <a:cubicBezTo>
                    <a:pt x="141" y="182"/>
                    <a:pt x="141" y="182"/>
                    <a:pt x="141" y="182"/>
                  </a:cubicBezTo>
                  <a:cubicBezTo>
                    <a:pt x="147" y="182"/>
                    <a:pt x="153" y="179"/>
                    <a:pt x="157" y="175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86" y="146"/>
                    <a:pt x="187" y="134"/>
                    <a:pt x="180" y="127"/>
                  </a:cubicBezTo>
                  <a:close/>
                  <a:moveTo>
                    <a:pt x="60" y="57"/>
                  </a:moveTo>
                  <a:cubicBezTo>
                    <a:pt x="56" y="61"/>
                    <a:pt x="56" y="66"/>
                    <a:pt x="60" y="70"/>
                  </a:cubicBezTo>
                  <a:cubicBezTo>
                    <a:pt x="114" y="124"/>
                    <a:pt x="114" y="124"/>
                    <a:pt x="114" y="124"/>
                  </a:cubicBezTo>
                  <a:cubicBezTo>
                    <a:pt x="116" y="126"/>
                    <a:pt x="118" y="127"/>
                    <a:pt x="121" y="127"/>
                  </a:cubicBezTo>
                  <a:cubicBezTo>
                    <a:pt x="123" y="127"/>
                    <a:pt x="125" y="126"/>
                    <a:pt x="127" y="124"/>
                  </a:cubicBezTo>
                  <a:cubicBezTo>
                    <a:pt x="131" y="121"/>
                    <a:pt x="131" y="115"/>
                    <a:pt x="127" y="112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69" y="53"/>
                    <a:pt x="63" y="53"/>
                    <a:pt x="60" y="57"/>
                  </a:cubicBezTo>
                  <a:close/>
                </a:path>
              </a:pathLst>
            </a:custGeom>
            <a:solidFill>
              <a:srgbClr val="C6B07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7" t="13038" r="9033" b="17070"/>
          <a:stretch/>
        </p:blipFill>
        <p:spPr>
          <a:xfrm>
            <a:off x="3516725" y="3177921"/>
            <a:ext cx="654076" cy="597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6973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Environm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24873" y="1645130"/>
            <a:ext cx="112868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defRPr>
            </a:lvl1pPr>
          </a:lstStyle>
          <a:p>
            <a:pPr algn="just"/>
            <a:r>
              <a:rPr lang="en-US" dirty="0"/>
              <a:t>The Prominent Features and Incentives Granted to Foreign Investors on the Amendments of the UAE Federal Law No. (2) Of 2015 on Commercial Companie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32971" y="2490356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3" name="Shape 2582">
            <a:extLst>
              <a:ext uri="{FF2B5EF4-FFF2-40B4-BE49-F238E27FC236}">
                <a16:creationId xmlns:a16="http://schemas.microsoft.com/office/drawing/2014/main" id="{6064C53A-1B51-8B4E-8B88-4A89AA813DF9}"/>
              </a:ext>
            </a:extLst>
          </p:cNvPr>
          <p:cNvSpPr/>
          <p:nvPr/>
        </p:nvSpPr>
        <p:spPr>
          <a:xfrm>
            <a:off x="711200" y="2644519"/>
            <a:ext cx="340343" cy="3111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4419"/>
                </a:moveTo>
                <a:lnTo>
                  <a:pt x="9327" y="4419"/>
                </a:lnTo>
                <a:cubicBezTo>
                  <a:pt x="9056" y="4419"/>
                  <a:pt x="8836" y="4638"/>
                  <a:pt x="8836" y="4909"/>
                </a:cubicBezTo>
                <a:cubicBezTo>
                  <a:pt x="8836" y="5181"/>
                  <a:pt x="9056" y="5400"/>
                  <a:pt x="9327" y="5400"/>
                </a:cubicBezTo>
                <a:lnTo>
                  <a:pt x="18164" y="5400"/>
                </a:lnTo>
                <a:cubicBezTo>
                  <a:pt x="18435" y="5400"/>
                  <a:pt x="18655" y="5181"/>
                  <a:pt x="18655" y="4909"/>
                </a:cubicBezTo>
                <a:cubicBezTo>
                  <a:pt x="18655" y="4638"/>
                  <a:pt x="18435" y="4419"/>
                  <a:pt x="18164" y="4419"/>
                </a:cubicBezTo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1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8164" y="10310"/>
                </a:moveTo>
                <a:lnTo>
                  <a:pt x="9327" y="10310"/>
                </a:lnTo>
                <a:cubicBezTo>
                  <a:pt x="9056" y="10310"/>
                  <a:pt x="8836" y="10529"/>
                  <a:pt x="8836" y="10800"/>
                </a:cubicBezTo>
                <a:cubicBezTo>
                  <a:pt x="8836" y="11072"/>
                  <a:pt x="9056" y="11291"/>
                  <a:pt x="9327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5445" y="16155"/>
                </a:moveTo>
                <a:lnTo>
                  <a:pt x="4909" y="14728"/>
                </a:lnTo>
                <a:lnTo>
                  <a:pt x="4374" y="16155"/>
                </a:lnTo>
                <a:lnTo>
                  <a:pt x="2945" y="16155"/>
                </a:lnTo>
                <a:lnTo>
                  <a:pt x="4106" y="17048"/>
                </a:lnTo>
                <a:lnTo>
                  <a:pt x="3571" y="18655"/>
                </a:lnTo>
                <a:lnTo>
                  <a:pt x="4909" y="17673"/>
                </a:lnTo>
                <a:lnTo>
                  <a:pt x="6248" y="18655"/>
                </a:lnTo>
                <a:lnTo>
                  <a:pt x="5713" y="17048"/>
                </a:lnTo>
                <a:lnTo>
                  <a:pt x="6873" y="16155"/>
                </a:lnTo>
                <a:cubicBezTo>
                  <a:pt x="6873" y="16155"/>
                  <a:pt x="5445" y="16155"/>
                  <a:pt x="5445" y="16155"/>
                </a:cubicBezTo>
                <a:close/>
                <a:moveTo>
                  <a:pt x="4909" y="8836"/>
                </a:moveTo>
                <a:lnTo>
                  <a:pt x="4374" y="10265"/>
                </a:lnTo>
                <a:lnTo>
                  <a:pt x="2945" y="10265"/>
                </a:lnTo>
                <a:lnTo>
                  <a:pt x="4106" y="11157"/>
                </a:lnTo>
                <a:lnTo>
                  <a:pt x="3571" y="12764"/>
                </a:lnTo>
                <a:lnTo>
                  <a:pt x="4909" y="11782"/>
                </a:lnTo>
                <a:lnTo>
                  <a:pt x="6248" y="12764"/>
                </a:lnTo>
                <a:lnTo>
                  <a:pt x="5713" y="11157"/>
                </a:lnTo>
                <a:lnTo>
                  <a:pt x="6873" y="10265"/>
                </a:lnTo>
                <a:lnTo>
                  <a:pt x="5445" y="10265"/>
                </a:lnTo>
                <a:cubicBezTo>
                  <a:pt x="5445" y="10265"/>
                  <a:pt x="4909" y="8836"/>
                  <a:pt x="4909" y="8836"/>
                </a:cubicBezTo>
                <a:close/>
                <a:moveTo>
                  <a:pt x="4909" y="2945"/>
                </a:moveTo>
                <a:lnTo>
                  <a:pt x="4374" y="4374"/>
                </a:lnTo>
                <a:lnTo>
                  <a:pt x="2945" y="4374"/>
                </a:lnTo>
                <a:lnTo>
                  <a:pt x="4106" y="5266"/>
                </a:lnTo>
                <a:lnTo>
                  <a:pt x="3571" y="6873"/>
                </a:lnTo>
                <a:lnTo>
                  <a:pt x="4909" y="5891"/>
                </a:lnTo>
                <a:lnTo>
                  <a:pt x="6248" y="6873"/>
                </a:lnTo>
                <a:lnTo>
                  <a:pt x="5713" y="5266"/>
                </a:lnTo>
                <a:lnTo>
                  <a:pt x="6873" y="4374"/>
                </a:lnTo>
                <a:lnTo>
                  <a:pt x="5445" y="4374"/>
                </a:lnTo>
                <a:cubicBezTo>
                  <a:pt x="5445" y="4374"/>
                  <a:pt x="4909" y="2945"/>
                  <a:pt x="4909" y="2945"/>
                </a:cubicBezTo>
                <a:close/>
                <a:moveTo>
                  <a:pt x="18164" y="16200"/>
                </a:moveTo>
                <a:lnTo>
                  <a:pt x="9327" y="16200"/>
                </a:lnTo>
                <a:cubicBezTo>
                  <a:pt x="9056" y="16200"/>
                  <a:pt x="8836" y="16420"/>
                  <a:pt x="8836" y="16691"/>
                </a:cubicBezTo>
                <a:cubicBezTo>
                  <a:pt x="8836" y="16962"/>
                  <a:pt x="9056" y="17182"/>
                  <a:pt x="9327" y="17182"/>
                </a:cubicBezTo>
                <a:lnTo>
                  <a:pt x="18164" y="17182"/>
                </a:lnTo>
                <a:cubicBezTo>
                  <a:pt x="18435" y="17182"/>
                  <a:pt x="18655" y="16962"/>
                  <a:pt x="18655" y="16691"/>
                </a:cubicBezTo>
                <a:cubicBezTo>
                  <a:pt x="18655" y="16420"/>
                  <a:pt x="18435" y="16200"/>
                  <a:pt x="18164" y="16200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532971" y="3191227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5" name="Shape 2606">
            <a:extLst>
              <a:ext uri="{FF2B5EF4-FFF2-40B4-BE49-F238E27FC236}">
                <a16:creationId xmlns:a16="http://schemas.microsoft.com/office/drawing/2014/main" id="{3349A533-4759-3746-9469-C3D5B86A4107}"/>
              </a:ext>
            </a:extLst>
          </p:cNvPr>
          <p:cNvSpPr/>
          <p:nvPr/>
        </p:nvSpPr>
        <p:spPr>
          <a:xfrm>
            <a:off x="726695" y="3349432"/>
            <a:ext cx="308015" cy="3151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309"/>
                </a:moveTo>
                <a:cubicBezTo>
                  <a:pt x="10800" y="10581"/>
                  <a:pt x="10580" y="10800"/>
                  <a:pt x="10309" y="10800"/>
                </a:cubicBezTo>
                <a:cubicBezTo>
                  <a:pt x="10038" y="10800"/>
                  <a:pt x="9818" y="10581"/>
                  <a:pt x="9818" y="10309"/>
                </a:cubicBezTo>
                <a:cubicBezTo>
                  <a:pt x="9818" y="10038"/>
                  <a:pt x="10038" y="9818"/>
                  <a:pt x="10309" y="9818"/>
                </a:cubicBezTo>
                <a:cubicBezTo>
                  <a:pt x="10580" y="9818"/>
                  <a:pt x="10800" y="10038"/>
                  <a:pt x="10800" y="10309"/>
                </a:cubicBezTo>
                <a:moveTo>
                  <a:pt x="20618" y="20618"/>
                </a:moveTo>
                <a:lnTo>
                  <a:pt x="18655" y="20618"/>
                </a:lnTo>
                <a:lnTo>
                  <a:pt x="18655" y="19145"/>
                </a:lnTo>
                <a:cubicBezTo>
                  <a:pt x="18655" y="18875"/>
                  <a:pt x="18434" y="18655"/>
                  <a:pt x="18164" y="18655"/>
                </a:cubicBezTo>
                <a:lnTo>
                  <a:pt x="16691" y="18655"/>
                </a:lnTo>
                <a:lnTo>
                  <a:pt x="16691" y="17182"/>
                </a:lnTo>
                <a:cubicBezTo>
                  <a:pt x="16691" y="16911"/>
                  <a:pt x="16471" y="16691"/>
                  <a:pt x="16200" y="16691"/>
                </a:cubicBezTo>
                <a:lnTo>
                  <a:pt x="14441" y="16691"/>
                </a:lnTo>
                <a:lnTo>
                  <a:pt x="12850" y="15086"/>
                </a:lnTo>
                <a:cubicBezTo>
                  <a:pt x="12761" y="14997"/>
                  <a:pt x="12639" y="14943"/>
                  <a:pt x="12503" y="14943"/>
                </a:cubicBezTo>
                <a:cubicBezTo>
                  <a:pt x="12356" y="14943"/>
                  <a:pt x="12228" y="15010"/>
                  <a:pt x="12138" y="15113"/>
                </a:cubicBezTo>
                <a:lnTo>
                  <a:pt x="11833" y="15418"/>
                </a:lnTo>
                <a:cubicBezTo>
                  <a:pt x="11450" y="15801"/>
                  <a:pt x="10829" y="15801"/>
                  <a:pt x="10445" y="15418"/>
                </a:cubicBezTo>
                <a:lnTo>
                  <a:pt x="6167" y="11139"/>
                </a:lnTo>
                <a:cubicBezTo>
                  <a:pt x="5784" y="10756"/>
                  <a:pt x="5784" y="10136"/>
                  <a:pt x="6167" y="9752"/>
                </a:cubicBezTo>
                <a:lnTo>
                  <a:pt x="9752" y="6167"/>
                </a:lnTo>
                <a:cubicBezTo>
                  <a:pt x="10135" y="5784"/>
                  <a:pt x="10756" y="5784"/>
                  <a:pt x="11139" y="6167"/>
                </a:cubicBezTo>
                <a:lnTo>
                  <a:pt x="11761" y="6789"/>
                </a:lnTo>
                <a:cubicBezTo>
                  <a:pt x="11699" y="7609"/>
                  <a:pt x="11457" y="8377"/>
                  <a:pt x="11069" y="9054"/>
                </a:cubicBezTo>
                <a:cubicBezTo>
                  <a:pt x="10847" y="8919"/>
                  <a:pt x="10588" y="8837"/>
                  <a:pt x="10309" y="8837"/>
                </a:cubicBezTo>
                <a:cubicBezTo>
                  <a:pt x="9496" y="8837"/>
                  <a:pt x="8836" y="9496"/>
                  <a:pt x="8836" y="10309"/>
                </a:cubicBezTo>
                <a:cubicBezTo>
                  <a:pt x="8836" y="11123"/>
                  <a:pt x="9496" y="11782"/>
                  <a:pt x="10309" y="11782"/>
                </a:cubicBezTo>
                <a:cubicBezTo>
                  <a:pt x="11123" y="11782"/>
                  <a:pt x="11782" y="11123"/>
                  <a:pt x="11782" y="10309"/>
                </a:cubicBezTo>
                <a:cubicBezTo>
                  <a:pt x="11782" y="10156"/>
                  <a:pt x="11752" y="10012"/>
                  <a:pt x="11709" y="9873"/>
                </a:cubicBezTo>
                <a:cubicBezTo>
                  <a:pt x="12146" y="9210"/>
                  <a:pt x="12466" y="8463"/>
                  <a:pt x="12631" y="7659"/>
                </a:cubicBezTo>
                <a:lnTo>
                  <a:pt x="15417" y="10446"/>
                </a:lnTo>
                <a:cubicBezTo>
                  <a:pt x="15800" y="10829"/>
                  <a:pt x="15800" y="11450"/>
                  <a:pt x="15417" y="11833"/>
                </a:cubicBezTo>
                <a:lnTo>
                  <a:pt x="15128" y="12122"/>
                </a:lnTo>
                <a:cubicBezTo>
                  <a:pt x="15025" y="12213"/>
                  <a:pt x="14957" y="12341"/>
                  <a:pt x="14957" y="12487"/>
                </a:cubicBezTo>
                <a:cubicBezTo>
                  <a:pt x="14957" y="12623"/>
                  <a:pt x="15013" y="12746"/>
                  <a:pt x="15101" y="12835"/>
                </a:cubicBezTo>
                <a:lnTo>
                  <a:pt x="20618" y="18367"/>
                </a:lnTo>
                <a:cubicBezTo>
                  <a:pt x="20618" y="18367"/>
                  <a:pt x="20618" y="20618"/>
                  <a:pt x="20618" y="20618"/>
                </a:cubicBezTo>
                <a:close/>
                <a:moveTo>
                  <a:pt x="5343" y="11673"/>
                </a:moveTo>
                <a:cubicBezTo>
                  <a:pt x="2859" y="11190"/>
                  <a:pt x="982" y="9008"/>
                  <a:pt x="982" y="6383"/>
                </a:cubicBezTo>
                <a:cubicBezTo>
                  <a:pt x="982" y="3400"/>
                  <a:pt x="3399" y="982"/>
                  <a:pt x="6382" y="982"/>
                </a:cubicBezTo>
                <a:cubicBezTo>
                  <a:pt x="9011" y="982"/>
                  <a:pt x="11198" y="2862"/>
                  <a:pt x="11681" y="5349"/>
                </a:cubicBezTo>
                <a:cubicBezTo>
                  <a:pt x="10910" y="4719"/>
                  <a:pt x="9777" y="4755"/>
                  <a:pt x="9058" y="5473"/>
                </a:cubicBezTo>
                <a:lnTo>
                  <a:pt x="5474" y="9058"/>
                </a:lnTo>
                <a:cubicBezTo>
                  <a:pt x="4757" y="9775"/>
                  <a:pt x="4719" y="10904"/>
                  <a:pt x="5343" y="11673"/>
                </a:cubicBezTo>
                <a:moveTo>
                  <a:pt x="21456" y="17817"/>
                </a:moveTo>
                <a:lnTo>
                  <a:pt x="16142" y="12488"/>
                </a:lnTo>
                <a:cubicBezTo>
                  <a:pt x="16874" y="11720"/>
                  <a:pt x="16865" y="10507"/>
                  <a:pt x="16111" y="9752"/>
                </a:cubicBezTo>
                <a:lnTo>
                  <a:pt x="12763" y="6404"/>
                </a:lnTo>
                <a:cubicBezTo>
                  <a:pt x="12763" y="6396"/>
                  <a:pt x="12764" y="6389"/>
                  <a:pt x="12764" y="6383"/>
                </a:cubicBezTo>
                <a:cubicBezTo>
                  <a:pt x="12764" y="2857"/>
                  <a:pt x="9907" y="0"/>
                  <a:pt x="6382" y="0"/>
                </a:cubicBezTo>
                <a:cubicBezTo>
                  <a:pt x="2857" y="0"/>
                  <a:pt x="0" y="2857"/>
                  <a:pt x="0" y="6383"/>
                </a:cubicBezTo>
                <a:cubicBezTo>
                  <a:pt x="0" y="9907"/>
                  <a:pt x="2857" y="12764"/>
                  <a:pt x="6382" y="12764"/>
                </a:cubicBezTo>
                <a:cubicBezTo>
                  <a:pt x="6389" y="12764"/>
                  <a:pt x="6396" y="12763"/>
                  <a:pt x="6403" y="12763"/>
                </a:cubicBezTo>
                <a:lnTo>
                  <a:pt x="9752" y="16111"/>
                </a:lnTo>
                <a:cubicBezTo>
                  <a:pt x="10511" y="16870"/>
                  <a:pt x="11735" y="16875"/>
                  <a:pt x="12503" y="16130"/>
                </a:cubicBezTo>
                <a:lnTo>
                  <a:pt x="13889" y="17529"/>
                </a:lnTo>
                <a:cubicBezTo>
                  <a:pt x="13978" y="17618"/>
                  <a:pt x="14101" y="17673"/>
                  <a:pt x="14236" y="17673"/>
                </a:cubicBezTo>
                <a:lnTo>
                  <a:pt x="15709" y="17673"/>
                </a:lnTo>
                <a:lnTo>
                  <a:pt x="15709" y="19145"/>
                </a:lnTo>
                <a:cubicBezTo>
                  <a:pt x="15709" y="19417"/>
                  <a:pt x="15929" y="19636"/>
                  <a:pt x="16200" y="19636"/>
                </a:cubicBezTo>
                <a:lnTo>
                  <a:pt x="17673" y="19636"/>
                </a:lnTo>
                <a:lnTo>
                  <a:pt x="17673" y="21109"/>
                </a:lnTo>
                <a:cubicBezTo>
                  <a:pt x="17673" y="21381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lnTo>
                  <a:pt x="21600" y="18164"/>
                </a:lnTo>
                <a:cubicBezTo>
                  <a:pt x="21600" y="18029"/>
                  <a:pt x="21545" y="17906"/>
                  <a:pt x="21456" y="17817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532969" y="391133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532969" y="4597105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8" name="Shape 2616">
            <a:extLst>
              <a:ext uri="{FF2B5EF4-FFF2-40B4-BE49-F238E27FC236}">
                <a16:creationId xmlns:a16="http://schemas.microsoft.com/office/drawing/2014/main" id="{3F20D56D-E1CE-1D4A-BC23-0969784EA5D6}"/>
              </a:ext>
            </a:extLst>
          </p:cNvPr>
          <p:cNvSpPr/>
          <p:nvPr/>
        </p:nvSpPr>
        <p:spPr>
          <a:xfrm>
            <a:off x="726695" y="4075727"/>
            <a:ext cx="340343" cy="268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70" name="Shape 2800">
            <a:extLst>
              <a:ext uri="{FF2B5EF4-FFF2-40B4-BE49-F238E27FC236}">
                <a16:creationId xmlns:a16="http://schemas.microsoft.com/office/drawing/2014/main" id="{3CF370F1-A0D2-BD45-916F-3DCC34CD6188}"/>
              </a:ext>
            </a:extLst>
          </p:cNvPr>
          <p:cNvSpPr/>
          <p:nvPr/>
        </p:nvSpPr>
        <p:spPr>
          <a:xfrm>
            <a:off x="724907" y="4785321"/>
            <a:ext cx="337749" cy="2551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208" y="15258"/>
                </a:moveTo>
                <a:cubicBezTo>
                  <a:pt x="10138" y="15500"/>
                  <a:pt x="10044" y="15701"/>
                  <a:pt x="9923" y="15861"/>
                </a:cubicBezTo>
                <a:cubicBezTo>
                  <a:pt x="9802" y="16022"/>
                  <a:pt x="9660" y="16144"/>
                  <a:pt x="9499" y="16228"/>
                </a:cubicBezTo>
                <a:cubicBezTo>
                  <a:pt x="9362" y="16300"/>
                  <a:pt x="9243" y="16340"/>
                  <a:pt x="9097" y="16360"/>
                </a:cubicBezTo>
                <a:lnTo>
                  <a:pt x="9097" y="16971"/>
                </a:lnTo>
                <a:lnTo>
                  <a:pt x="8606" y="16971"/>
                </a:lnTo>
                <a:lnTo>
                  <a:pt x="8606" y="16361"/>
                </a:lnTo>
                <a:cubicBezTo>
                  <a:pt x="8446" y="16345"/>
                  <a:pt x="8316" y="16304"/>
                  <a:pt x="8171" y="16224"/>
                </a:cubicBezTo>
                <a:cubicBezTo>
                  <a:pt x="8001" y="16130"/>
                  <a:pt x="7856" y="15998"/>
                  <a:pt x="7736" y="15826"/>
                </a:cubicBezTo>
                <a:cubicBezTo>
                  <a:pt x="7615" y="15655"/>
                  <a:pt x="7522" y="15443"/>
                  <a:pt x="7456" y="15193"/>
                </a:cubicBezTo>
                <a:cubicBezTo>
                  <a:pt x="7390" y="14942"/>
                  <a:pt x="7359" y="14654"/>
                  <a:pt x="7363" y="14327"/>
                </a:cubicBezTo>
                <a:lnTo>
                  <a:pt x="8007" y="14327"/>
                </a:lnTo>
                <a:cubicBezTo>
                  <a:pt x="8003" y="14712"/>
                  <a:pt x="8058" y="15015"/>
                  <a:pt x="8171" y="15236"/>
                </a:cubicBezTo>
                <a:cubicBezTo>
                  <a:pt x="8270" y="15431"/>
                  <a:pt x="8403" y="15530"/>
                  <a:pt x="8606" y="15563"/>
                </a:cubicBezTo>
                <a:lnTo>
                  <a:pt x="8606" y="13432"/>
                </a:lnTo>
                <a:cubicBezTo>
                  <a:pt x="8492" y="13376"/>
                  <a:pt x="8395" y="13313"/>
                  <a:pt x="8270" y="13239"/>
                </a:cubicBezTo>
                <a:cubicBezTo>
                  <a:pt x="8118" y="13149"/>
                  <a:pt x="7980" y="13033"/>
                  <a:pt x="7857" y="12890"/>
                </a:cubicBezTo>
                <a:cubicBezTo>
                  <a:pt x="7735" y="12746"/>
                  <a:pt x="7636" y="12568"/>
                  <a:pt x="7561" y="12352"/>
                </a:cubicBezTo>
                <a:cubicBezTo>
                  <a:pt x="7485" y="12136"/>
                  <a:pt x="7448" y="11868"/>
                  <a:pt x="7448" y="11548"/>
                </a:cubicBezTo>
                <a:cubicBezTo>
                  <a:pt x="7448" y="11268"/>
                  <a:pt x="7483" y="11023"/>
                  <a:pt x="7553" y="10809"/>
                </a:cubicBezTo>
                <a:cubicBezTo>
                  <a:pt x="7622" y="10596"/>
                  <a:pt x="7716" y="10419"/>
                  <a:pt x="7835" y="10276"/>
                </a:cubicBezTo>
                <a:cubicBezTo>
                  <a:pt x="7954" y="10134"/>
                  <a:pt x="8090" y="10024"/>
                  <a:pt x="8244" y="9948"/>
                </a:cubicBezTo>
                <a:cubicBezTo>
                  <a:pt x="8373" y="9885"/>
                  <a:pt x="8479" y="9855"/>
                  <a:pt x="8606" y="9844"/>
                </a:cubicBezTo>
                <a:lnTo>
                  <a:pt x="8606" y="9257"/>
                </a:lnTo>
                <a:lnTo>
                  <a:pt x="9097" y="9257"/>
                </a:lnTo>
                <a:lnTo>
                  <a:pt x="9097" y="9844"/>
                </a:lnTo>
                <a:cubicBezTo>
                  <a:pt x="9224" y="9853"/>
                  <a:pt x="9328" y="9881"/>
                  <a:pt x="9453" y="9939"/>
                </a:cubicBezTo>
                <a:cubicBezTo>
                  <a:pt x="9605" y="10009"/>
                  <a:pt x="9735" y="10114"/>
                  <a:pt x="9847" y="10255"/>
                </a:cubicBezTo>
                <a:cubicBezTo>
                  <a:pt x="9957" y="10394"/>
                  <a:pt x="10046" y="10572"/>
                  <a:pt x="10112" y="10788"/>
                </a:cubicBezTo>
                <a:cubicBezTo>
                  <a:pt x="10178" y="11003"/>
                  <a:pt x="10211" y="11254"/>
                  <a:pt x="10211" y="11540"/>
                </a:cubicBezTo>
                <a:lnTo>
                  <a:pt x="9567" y="11540"/>
                </a:lnTo>
                <a:cubicBezTo>
                  <a:pt x="9559" y="11242"/>
                  <a:pt x="9509" y="11015"/>
                  <a:pt x="9417" y="10857"/>
                </a:cubicBezTo>
                <a:cubicBezTo>
                  <a:pt x="9339" y="10725"/>
                  <a:pt x="9243" y="10661"/>
                  <a:pt x="9097" y="10640"/>
                </a:cubicBezTo>
                <a:lnTo>
                  <a:pt x="9097" y="12504"/>
                </a:lnTo>
                <a:cubicBezTo>
                  <a:pt x="9226" y="12565"/>
                  <a:pt x="9336" y="12633"/>
                  <a:pt x="9471" y="12710"/>
                </a:cubicBezTo>
                <a:cubicBezTo>
                  <a:pt x="9633" y="12804"/>
                  <a:pt x="9776" y="12923"/>
                  <a:pt x="9900" y="13069"/>
                </a:cubicBezTo>
                <a:cubicBezTo>
                  <a:pt x="10024" y="13215"/>
                  <a:pt x="10124" y="13395"/>
                  <a:pt x="10200" y="13610"/>
                </a:cubicBezTo>
                <a:cubicBezTo>
                  <a:pt x="10275" y="13827"/>
                  <a:pt x="10312" y="14091"/>
                  <a:pt x="10312" y="14407"/>
                </a:cubicBezTo>
                <a:cubicBezTo>
                  <a:pt x="10312" y="14732"/>
                  <a:pt x="10278" y="15016"/>
                  <a:pt x="10208" y="15258"/>
                </a:cubicBezTo>
                <a:moveTo>
                  <a:pt x="8836" y="7714"/>
                </a:moveTo>
                <a:cubicBezTo>
                  <a:pt x="6938" y="7714"/>
                  <a:pt x="5400" y="10132"/>
                  <a:pt x="5400" y="13114"/>
                </a:cubicBezTo>
                <a:cubicBezTo>
                  <a:pt x="5400" y="16096"/>
                  <a:pt x="6938" y="18514"/>
                  <a:pt x="8836" y="18514"/>
                </a:cubicBezTo>
                <a:cubicBezTo>
                  <a:pt x="10734" y="18514"/>
                  <a:pt x="12273" y="16096"/>
                  <a:pt x="12273" y="13114"/>
                </a:cubicBezTo>
                <a:cubicBezTo>
                  <a:pt x="12273" y="10132"/>
                  <a:pt x="10734" y="7714"/>
                  <a:pt x="8836" y="7714"/>
                </a:cubicBezTo>
                <a:moveTo>
                  <a:pt x="20618" y="0"/>
                </a:moveTo>
                <a:lnTo>
                  <a:pt x="4909" y="0"/>
                </a:lnTo>
                <a:cubicBezTo>
                  <a:pt x="4367" y="0"/>
                  <a:pt x="3927" y="690"/>
                  <a:pt x="3927" y="1543"/>
                </a:cubicBezTo>
                <a:lnTo>
                  <a:pt x="3927" y="2314"/>
                </a:lnTo>
                <a:cubicBezTo>
                  <a:pt x="3927" y="2740"/>
                  <a:pt x="4147" y="3086"/>
                  <a:pt x="4418" y="3086"/>
                </a:cubicBezTo>
                <a:cubicBezTo>
                  <a:pt x="4689" y="3086"/>
                  <a:pt x="4909" y="2740"/>
                  <a:pt x="4909" y="2314"/>
                </a:cubicBezTo>
                <a:lnTo>
                  <a:pt x="4909" y="1543"/>
                </a:lnTo>
                <a:lnTo>
                  <a:pt x="20618" y="1543"/>
                </a:lnTo>
                <a:lnTo>
                  <a:pt x="20618" y="15429"/>
                </a:lnTo>
                <a:lnTo>
                  <a:pt x="19145" y="15429"/>
                </a:lnTo>
                <a:cubicBezTo>
                  <a:pt x="18874" y="15429"/>
                  <a:pt x="18655" y="15774"/>
                  <a:pt x="18655" y="16200"/>
                </a:cubicBezTo>
                <a:cubicBezTo>
                  <a:pt x="18655" y="16626"/>
                  <a:pt x="18874" y="16971"/>
                  <a:pt x="19145" y="16971"/>
                </a:cubicBezTo>
                <a:lnTo>
                  <a:pt x="20618" y="16971"/>
                </a:lnTo>
                <a:cubicBezTo>
                  <a:pt x="21160" y="16971"/>
                  <a:pt x="21600" y="16280"/>
                  <a:pt x="21600" y="15429"/>
                </a:cubicBezTo>
                <a:lnTo>
                  <a:pt x="21600" y="1543"/>
                </a:lnTo>
                <a:cubicBezTo>
                  <a:pt x="21600" y="690"/>
                  <a:pt x="21160" y="0"/>
                  <a:pt x="20618" y="0"/>
                </a:cubicBezTo>
                <a:moveTo>
                  <a:pt x="9451" y="13856"/>
                </a:moveTo>
                <a:cubicBezTo>
                  <a:pt x="9385" y="13780"/>
                  <a:pt x="9310" y="13718"/>
                  <a:pt x="9228" y="13671"/>
                </a:cubicBezTo>
                <a:cubicBezTo>
                  <a:pt x="9175" y="13642"/>
                  <a:pt x="9137" y="13616"/>
                  <a:pt x="9097" y="13590"/>
                </a:cubicBezTo>
                <a:lnTo>
                  <a:pt x="9097" y="15560"/>
                </a:lnTo>
                <a:cubicBezTo>
                  <a:pt x="9250" y="15523"/>
                  <a:pt x="9363" y="15447"/>
                  <a:pt x="9473" y="15311"/>
                </a:cubicBezTo>
                <a:cubicBezTo>
                  <a:pt x="9604" y="15151"/>
                  <a:pt x="9668" y="14896"/>
                  <a:pt x="9668" y="14545"/>
                </a:cubicBezTo>
                <a:cubicBezTo>
                  <a:pt x="9668" y="14383"/>
                  <a:pt x="9649" y="14246"/>
                  <a:pt x="9609" y="14135"/>
                </a:cubicBezTo>
                <a:cubicBezTo>
                  <a:pt x="9570" y="14024"/>
                  <a:pt x="9517" y="13931"/>
                  <a:pt x="9451" y="13856"/>
                </a:cubicBezTo>
                <a:moveTo>
                  <a:pt x="13255" y="16971"/>
                </a:moveTo>
                <a:cubicBezTo>
                  <a:pt x="12983" y="16971"/>
                  <a:pt x="12764" y="17316"/>
                  <a:pt x="12764" y="17743"/>
                </a:cubicBezTo>
                <a:cubicBezTo>
                  <a:pt x="12764" y="18169"/>
                  <a:pt x="12983" y="18514"/>
                  <a:pt x="13255" y="18514"/>
                </a:cubicBezTo>
                <a:cubicBezTo>
                  <a:pt x="13525" y="18514"/>
                  <a:pt x="13745" y="18169"/>
                  <a:pt x="13745" y="17743"/>
                </a:cubicBezTo>
                <a:cubicBezTo>
                  <a:pt x="13745" y="17316"/>
                  <a:pt x="13525" y="16971"/>
                  <a:pt x="13255" y="16971"/>
                </a:cubicBezTo>
                <a:moveTo>
                  <a:pt x="16200" y="7714"/>
                </a:moveTo>
                <a:cubicBezTo>
                  <a:pt x="15928" y="7714"/>
                  <a:pt x="15709" y="7369"/>
                  <a:pt x="15709" y="6943"/>
                </a:cubicBezTo>
                <a:cubicBezTo>
                  <a:pt x="15709" y="6516"/>
                  <a:pt x="15928" y="6171"/>
                  <a:pt x="16200" y="6171"/>
                </a:cubicBezTo>
                <a:cubicBezTo>
                  <a:pt x="16471" y="6171"/>
                  <a:pt x="16691" y="6516"/>
                  <a:pt x="16691" y="6943"/>
                </a:cubicBezTo>
                <a:cubicBezTo>
                  <a:pt x="16691" y="7369"/>
                  <a:pt x="16471" y="7714"/>
                  <a:pt x="16200" y="7714"/>
                </a:cubicBezTo>
                <a:moveTo>
                  <a:pt x="16691" y="17113"/>
                </a:moveTo>
                <a:cubicBezTo>
                  <a:pt x="16537" y="17027"/>
                  <a:pt x="16373" y="16971"/>
                  <a:pt x="16200" y="16971"/>
                </a:cubicBezTo>
                <a:cubicBezTo>
                  <a:pt x="15386" y="16971"/>
                  <a:pt x="14727" y="18008"/>
                  <a:pt x="14727" y="19286"/>
                </a:cubicBezTo>
                <a:cubicBezTo>
                  <a:pt x="14727" y="19557"/>
                  <a:pt x="14762" y="19814"/>
                  <a:pt x="14817" y="20057"/>
                </a:cubicBezTo>
                <a:lnTo>
                  <a:pt x="2855" y="20057"/>
                </a:lnTo>
                <a:cubicBezTo>
                  <a:pt x="2910" y="19814"/>
                  <a:pt x="2945" y="19557"/>
                  <a:pt x="2945" y="19286"/>
                </a:cubicBezTo>
                <a:cubicBezTo>
                  <a:pt x="2945" y="18008"/>
                  <a:pt x="2286" y="16971"/>
                  <a:pt x="1473" y="16971"/>
                </a:cubicBezTo>
                <a:cubicBezTo>
                  <a:pt x="1299" y="16971"/>
                  <a:pt x="1136" y="17027"/>
                  <a:pt x="982" y="17113"/>
                </a:cubicBezTo>
                <a:lnTo>
                  <a:pt x="982" y="9115"/>
                </a:lnTo>
                <a:cubicBezTo>
                  <a:pt x="1136" y="9202"/>
                  <a:pt x="1299" y="9257"/>
                  <a:pt x="1473" y="9257"/>
                </a:cubicBezTo>
                <a:cubicBezTo>
                  <a:pt x="2286" y="9257"/>
                  <a:pt x="2945" y="8221"/>
                  <a:pt x="2945" y="6943"/>
                </a:cubicBezTo>
                <a:cubicBezTo>
                  <a:pt x="2945" y="6671"/>
                  <a:pt x="2910" y="6414"/>
                  <a:pt x="2855" y="6171"/>
                </a:cubicBezTo>
                <a:lnTo>
                  <a:pt x="14817" y="6171"/>
                </a:lnTo>
                <a:cubicBezTo>
                  <a:pt x="14762" y="6414"/>
                  <a:pt x="14727" y="6671"/>
                  <a:pt x="14727" y="6943"/>
                </a:cubicBezTo>
                <a:cubicBezTo>
                  <a:pt x="14727" y="8221"/>
                  <a:pt x="15386" y="9257"/>
                  <a:pt x="16200" y="9257"/>
                </a:cubicBezTo>
                <a:cubicBezTo>
                  <a:pt x="16373" y="9257"/>
                  <a:pt x="16537" y="9202"/>
                  <a:pt x="16691" y="9115"/>
                </a:cubicBezTo>
                <a:cubicBezTo>
                  <a:pt x="16691" y="9115"/>
                  <a:pt x="16691" y="17113"/>
                  <a:pt x="16691" y="17113"/>
                </a:cubicBezTo>
                <a:close/>
                <a:moveTo>
                  <a:pt x="16200" y="20057"/>
                </a:moveTo>
                <a:cubicBezTo>
                  <a:pt x="15928" y="20057"/>
                  <a:pt x="15709" y="19712"/>
                  <a:pt x="15709" y="19286"/>
                </a:cubicBezTo>
                <a:cubicBezTo>
                  <a:pt x="15709" y="18859"/>
                  <a:pt x="15928" y="18514"/>
                  <a:pt x="16200" y="18514"/>
                </a:cubicBezTo>
                <a:cubicBezTo>
                  <a:pt x="16471" y="18514"/>
                  <a:pt x="16691" y="18859"/>
                  <a:pt x="16691" y="19286"/>
                </a:cubicBezTo>
                <a:cubicBezTo>
                  <a:pt x="16691" y="19712"/>
                  <a:pt x="16471" y="20057"/>
                  <a:pt x="16200" y="20057"/>
                </a:cubicBezTo>
                <a:moveTo>
                  <a:pt x="1473" y="20057"/>
                </a:moveTo>
                <a:cubicBezTo>
                  <a:pt x="1201" y="20057"/>
                  <a:pt x="982" y="19712"/>
                  <a:pt x="982" y="19286"/>
                </a:cubicBezTo>
                <a:cubicBezTo>
                  <a:pt x="982" y="18859"/>
                  <a:pt x="1201" y="18514"/>
                  <a:pt x="1473" y="18514"/>
                </a:cubicBezTo>
                <a:cubicBezTo>
                  <a:pt x="1744" y="18514"/>
                  <a:pt x="1964" y="18859"/>
                  <a:pt x="1964" y="19286"/>
                </a:cubicBezTo>
                <a:cubicBezTo>
                  <a:pt x="1964" y="19712"/>
                  <a:pt x="1744" y="20057"/>
                  <a:pt x="1473" y="20057"/>
                </a:cubicBezTo>
                <a:moveTo>
                  <a:pt x="1473" y="6171"/>
                </a:moveTo>
                <a:cubicBezTo>
                  <a:pt x="1744" y="6171"/>
                  <a:pt x="1964" y="6516"/>
                  <a:pt x="1964" y="6943"/>
                </a:cubicBezTo>
                <a:cubicBezTo>
                  <a:pt x="1964" y="7369"/>
                  <a:pt x="1744" y="7714"/>
                  <a:pt x="1473" y="7714"/>
                </a:cubicBezTo>
                <a:cubicBezTo>
                  <a:pt x="1201" y="7714"/>
                  <a:pt x="982" y="7369"/>
                  <a:pt x="982" y="6943"/>
                </a:cubicBezTo>
                <a:cubicBezTo>
                  <a:pt x="982" y="6516"/>
                  <a:pt x="1201" y="6171"/>
                  <a:pt x="1473" y="6171"/>
                </a:cubicBezTo>
                <a:moveTo>
                  <a:pt x="16691" y="4629"/>
                </a:moveTo>
                <a:lnTo>
                  <a:pt x="982" y="4629"/>
                </a:lnTo>
                <a:cubicBezTo>
                  <a:pt x="439" y="4629"/>
                  <a:pt x="0" y="5319"/>
                  <a:pt x="0" y="6171"/>
                </a:cubicBezTo>
                <a:lnTo>
                  <a:pt x="0" y="20057"/>
                </a:lnTo>
                <a:cubicBezTo>
                  <a:pt x="0" y="20909"/>
                  <a:pt x="439" y="21600"/>
                  <a:pt x="982" y="21600"/>
                </a:cubicBezTo>
                <a:lnTo>
                  <a:pt x="16691" y="21600"/>
                </a:lnTo>
                <a:cubicBezTo>
                  <a:pt x="17233" y="21600"/>
                  <a:pt x="17673" y="20909"/>
                  <a:pt x="17673" y="20057"/>
                </a:cubicBezTo>
                <a:lnTo>
                  <a:pt x="17673" y="6171"/>
                </a:lnTo>
                <a:cubicBezTo>
                  <a:pt x="17673" y="5319"/>
                  <a:pt x="17233" y="4629"/>
                  <a:pt x="16691" y="4629"/>
                </a:cubicBezTo>
                <a:moveTo>
                  <a:pt x="8092" y="11478"/>
                </a:moveTo>
                <a:cubicBezTo>
                  <a:pt x="8092" y="11618"/>
                  <a:pt x="8111" y="11738"/>
                  <a:pt x="8149" y="11836"/>
                </a:cubicBezTo>
                <a:cubicBezTo>
                  <a:pt x="8186" y="11936"/>
                  <a:pt x="8234" y="12020"/>
                  <a:pt x="8293" y="12090"/>
                </a:cubicBezTo>
                <a:cubicBezTo>
                  <a:pt x="8351" y="12160"/>
                  <a:pt x="8419" y="12217"/>
                  <a:pt x="8496" y="12260"/>
                </a:cubicBezTo>
                <a:cubicBezTo>
                  <a:pt x="8542" y="12286"/>
                  <a:pt x="8573" y="12310"/>
                  <a:pt x="8606" y="12330"/>
                </a:cubicBezTo>
                <a:lnTo>
                  <a:pt x="8606" y="10637"/>
                </a:lnTo>
                <a:cubicBezTo>
                  <a:pt x="8457" y="10653"/>
                  <a:pt x="8353" y="10708"/>
                  <a:pt x="8258" y="10818"/>
                </a:cubicBezTo>
                <a:cubicBezTo>
                  <a:pt x="8147" y="10949"/>
                  <a:pt x="8092" y="11170"/>
                  <a:pt x="8092" y="11478"/>
                </a:cubicBezTo>
                <a:moveTo>
                  <a:pt x="4418" y="7714"/>
                </a:moveTo>
                <a:cubicBezTo>
                  <a:pt x="4147" y="7714"/>
                  <a:pt x="3927" y="8060"/>
                  <a:pt x="3927" y="8486"/>
                </a:cubicBezTo>
                <a:cubicBezTo>
                  <a:pt x="3927" y="8912"/>
                  <a:pt x="4147" y="9257"/>
                  <a:pt x="4418" y="9257"/>
                </a:cubicBezTo>
                <a:cubicBezTo>
                  <a:pt x="4689" y="9257"/>
                  <a:pt x="4909" y="8912"/>
                  <a:pt x="4909" y="8486"/>
                </a:cubicBezTo>
                <a:cubicBezTo>
                  <a:pt x="4909" y="8060"/>
                  <a:pt x="4689" y="7714"/>
                  <a:pt x="4418" y="7714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532968" y="528287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72" name="Shape 2539">
            <a:extLst>
              <a:ext uri="{FF2B5EF4-FFF2-40B4-BE49-F238E27FC236}">
                <a16:creationId xmlns:a16="http://schemas.microsoft.com/office/drawing/2014/main" id="{E8D087B2-845E-7E4E-B3CA-91EDE38F31EF}"/>
              </a:ext>
            </a:extLst>
          </p:cNvPr>
          <p:cNvSpPr/>
          <p:nvPr/>
        </p:nvSpPr>
        <p:spPr>
          <a:xfrm>
            <a:off x="737407" y="5477251"/>
            <a:ext cx="286585" cy="2427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chemeClr val="bg1"/>
          </a:solidFill>
          <a:ln w="28575"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60764" y="2605137"/>
            <a:ext cx="73785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Full ownership of all economic sectors with the exception of strategic impact activities.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260764" y="3295225"/>
            <a:ext cx="40802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Full ownership of all legal forms of companies.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260764" y="3975039"/>
            <a:ext cx="71142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ossibility of ownership in sectors with a strategic impact under certain legislations. 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260764" y="4728207"/>
            <a:ext cx="65757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racticing banking and insurance businesses in all legal forms for companies. 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260764" y="5413976"/>
            <a:ext cx="67510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No obligations for a limited liability company to be with the name of its owner. </a:t>
            </a:r>
          </a:p>
        </p:txBody>
      </p:sp>
    </p:spTree>
    <p:extLst>
      <p:ext uri="{BB962C8B-B14F-4D97-AF65-F5344CB8AC3E}">
        <p14:creationId xmlns:p14="http://schemas.microsoft.com/office/powerpoint/2010/main" val="23928875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Environm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32971" y="1632983"/>
            <a:ext cx="111233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defRPr>
            </a:lvl1pPr>
          </a:lstStyle>
          <a:p>
            <a:pPr algn="just"/>
            <a:r>
              <a:rPr lang="en-US" dirty="0"/>
              <a:t>The Prominent Features and Incentives Granted to Foreign Investors on the Amendments of the UAE Federal Law No. (2) Of 2015 on Commercial Companie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25714" y="2504483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526716" y="3197149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532969" y="391133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532969" y="4597105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532968" y="528287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60764" y="2605137"/>
            <a:ext cx="39386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bsence of the need of a local service agent. 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260764" y="3295225"/>
            <a:ext cx="26540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Freedom of settling disputes.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260764" y="3975039"/>
            <a:ext cx="62392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bsence of minimum capital requirement for limited liability companies. 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260763" y="4597105"/>
            <a:ext cx="78722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ossibility of Calling a General Assembly Meeting if requested by partners holding 10% of the LLC's capital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228431" y="5319947"/>
            <a:ext cx="8114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Extending the Period of Announcing the Invitation to the general assembly to 21 days before instead of 15 days for the LLC Company.</a:t>
            </a:r>
          </a:p>
        </p:txBody>
      </p:sp>
      <p:sp>
        <p:nvSpPr>
          <p:cNvPr id="19" name="Shape 2581">
            <a:extLst>
              <a:ext uri="{FF2B5EF4-FFF2-40B4-BE49-F238E27FC236}">
                <a16:creationId xmlns:a16="http://schemas.microsoft.com/office/drawing/2014/main" id="{829D44AB-A90B-FF4E-8A75-951C28468FB8}"/>
              </a:ext>
            </a:extLst>
          </p:cNvPr>
          <p:cNvSpPr/>
          <p:nvPr/>
        </p:nvSpPr>
        <p:spPr>
          <a:xfrm>
            <a:off x="677262" y="2635637"/>
            <a:ext cx="406874" cy="3971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0" name="Shape 2828">
            <a:extLst>
              <a:ext uri="{FF2B5EF4-FFF2-40B4-BE49-F238E27FC236}">
                <a16:creationId xmlns:a16="http://schemas.microsoft.com/office/drawing/2014/main" id="{6C4CC187-1F95-034B-9CAE-0E2ED7BE3943}"/>
              </a:ext>
            </a:extLst>
          </p:cNvPr>
          <p:cNvSpPr/>
          <p:nvPr/>
        </p:nvSpPr>
        <p:spPr>
          <a:xfrm>
            <a:off x="734400" y="3337716"/>
            <a:ext cx="299085" cy="3216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3745"/>
                </a:moveTo>
                <a:lnTo>
                  <a:pt x="2400" y="13745"/>
                </a:lnTo>
                <a:lnTo>
                  <a:pt x="2400" y="14727"/>
                </a:lnTo>
                <a:lnTo>
                  <a:pt x="14400" y="14727"/>
                </a:lnTo>
                <a:cubicBezTo>
                  <a:pt x="14400" y="14727"/>
                  <a:pt x="14400" y="13745"/>
                  <a:pt x="14400" y="13745"/>
                </a:cubicBezTo>
                <a:close/>
                <a:moveTo>
                  <a:pt x="15600" y="20092"/>
                </a:moveTo>
                <a:lnTo>
                  <a:pt x="13624" y="18798"/>
                </a:lnTo>
                <a:cubicBezTo>
                  <a:pt x="13515" y="18710"/>
                  <a:pt x="13366" y="18655"/>
                  <a:pt x="13200" y="18655"/>
                </a:cubicBezTo>
                <a:cubicBezTo>
                  <a:pt x="13035" y="18655"/>
                  <a:pt x="12885" y="18710"/>
                  <a:pt x="12776" y="18798"/>
                </a:cubicBezTo>
                <a:lnTo>
                  <a:pt x="10800" y="20415"/>
                </a:lnTo>
                <a:lnTo>
                  <a:pt x="8824" y="18798"/>
                </a:lnTo>
                <a:cubicBezTo>
                  <a:pt x="8716" y="18710"/>
                  <a:pt x="8566" y="18655"/>
                  <a:pt x="8400" y="18655"/>
                </a:cubicBezTo>
                <a:cubicBezTo>
                  <a:pt x="8235" y="18655"/>
                  <a:pt x="8085" y="18710"/>
                  <a:pt x="7976" y="18798"/>
                </a:cubicBezTo>
                <a:lnTo>
                  <a:pt x="6000" y="20415"/>
                </a:lnTo>
                <a:lnTo>
                  <a:pt x="4024" y="18798"/>
                </a:lnTo>
                <a:cubicBezTo>
                  <a:pt x="3915" y="18710"/>
                  <a:pt x="3766" y="18655"/>
                  <a:pt x="3600" y="18655"/>
                </a:cubicBezTo>
                <a:cubicBezTo>
                  <a:pt x="3435" y="18655"/>
                  <a:pt x="3285" y="18710"/>
                  <a:pt x="3176" y="18798"/>
                </a:cubicBezTo>
                <a:lnTo>
                  <a:pt x="1200" y="20092"/>
                </a:lnTo>
                <a:lnTo>
                  <a:pt x="1200" y="3927"/>
                </a:lnTo>
                <a:lnTo>
                  <a:pt x="15600" y="3927"/>
                </a:lnTo>
                <a:cubicBezTo>
                  <a:pt x="15600" y="3927"/>
                  <a:pt x="15600" y="20092"/>
                  <a:pt x="15600" y="20092"/>
                </a:cubicBezTo>
                <a:close/>
                <a:moveTo>
                  <a:pt x="16200" y="2945"/>
                </a:moveTo>
                <a:lnTo>
                  <a:pt x="600" y="2945"/>
                </a:lnTo>
                <a:cubicBezTo>
                  <a:pt x="268" y="2945"/>
                  <a:pt x="0" y="3165"/>
                  <a:pt x="0" y="3436"/>
                </a:cubicBezTo>
                <a:lnTo>
                  <a:pt x="0" y="21109"/>
                </a:lnTo>
                <a:cubicBezTo>
                  <a:pt x="0" y="21380"/>
                  <a:pt x="268" y="21600"/>
                  <a:pt x="600" y="21600"/>
                </a:cubicBezTo>
                <a:cubicBezTo>
                  <a:pt x="766" y="21600"/>
                  <a:pt x="916" y="21545"/>
                  <a:pt x="1024" y="21456"/>
                </a:cubicBezTo>
                <a:lnTo>
                  <a:pt x="3553" y="19801"/>
                </a:lnTo>
                <a:lnTo>
                  <a:pt x="5576" y="21456"/>
                </a:lnTo>
                <a:cubicBezTo>
                  <a:pt x="5684" y="21545"/>
                  <a:pt x="5834" y="21600"/>
                  <a:pt x="6000" y="21600"/>
                </a:cubicBezTo>
                <a:cubicBezTo>
                  <a:pt x="6166" y="21600"/>
                  <a:pt x="6316" y="21545"/>
                  <a:pt x="6424" y="21456"/>
                </a:cubicBezTo>
                <a:lnTo>
                  <a:pt x="8400" y="19840"/>
                </a:lnTo>
                <a:lnTo>
                  <a:pt x="10376" y="21456"/>
                </a:lnTo>
                <a:cubicBezTo>
                  <a:pt x="10484" y="21545"/>
                  <a:pt x="10634" y="21600"/>
                  <a:pt x="10800" y="21600"/>
                </a:cubicBezTo>
                <a:cubicBezTo>
                  <a:pt x="10966" y="21600"/>
                  <a:pt x="11116" y="21545"/>
                  <a:pt x="11224" y="21456"/>
                </a:cubicBezTo>
                <a:lnTo>
                  <a:pt x="13247" y="19801"/>
                </a:lnTo>
                <a:lnTo>
                  <a:pt x="15776" y="21456"/>
                </a:lnTo>
                <a:cubicBezTo>
                  <a:pt x="15884" y="21545"/>
                  <a:pt x="16034" y="21600"/>
                  <a:pt x="16200" y="21600"/>
                </a:cubicBezTo>
                <a:cubicBezTo>
                  <a:pt x="16532" y="21600"/>
                  <a:pt x="16800" y="21380"/>
                  <a:pt x="16800" y="21109"/>
                </a:cubicBezTo>
                <a:lnTo>
                  <a:pt x="16800" y="3436"/>
                </a:lnTo>
                <a:cubicBezTo>
                  <a:pt x="16800" y="3165"/>
                  <a:pt x="16532" y="2945"/>
                  <a:pt x="16200" y="2945"/>
                </a:cubicBezTo>
                <a:moveTo>
                  <a:pt x="8400" y="11782"/>
                </a:moveTo>
                <a:lnTo>
                  <a:pt x="2400" y="11782"/>
                </a:lnTo>
                <a:lnTo>
                  <a:pt x="2400" y="12764"/>
                </a:lnTo>
                <a:lnTo>
                  <a:pt x="8400" y="12764"/>
                </a:lnTo>
                <a:cubicBezTo>
                  <a:pt x="8400" y="12764"/>
                  <a:pt x="8400" y="11782"/>
                  <a:pt x="8400" y="11782"/>
                </a:cubicBezTo>
                <a:close/>
                <a:moveTo>
                  <a:pt x="21000" y="0"/>
                </a:moveTo>
                <a:lnTo>
                  <a:pt x="5400" y="0"/>
                </a:lnTo>
                <a:cubicBezTo>
                  <a:pt x="5068" y="0"/>
                  <a:pt x="4800" y="220"/>
                  <a:pt x="4800" y="491"/>
                </a:cubicBezTo>
                <a:lnTo>
                  <a:pt x="4800" y="1964"/>
                </a:lnTo>
                <a:lnTo>
                  <a:pt x="6000" y="1964"/>
                </a:lnTo>
                <a:lnTo>
                  <a:pt x="6000" y="982"/>
                </a:lnTo>
                <a:lnTo>
                  <a:pt x="20400" y="982"/>
                </a:lnTo>
                <a:lnTo>
                  <a:pt x="20400" y="17146"/>
                </a:lnTo>
                <a:lnTo>
                  <a:pt x="18424" y="15853"/>
                </a:lnTo>
                <a:cubicBezTo>
                  <a:pt x="18316" y="15764"/>
                  <a:pt x="18166" y="15709"/>
                  <a:pt x="18000" y="15709"/>
                </a:cubicBezTo>
                <a:lnTo>
                  <a:pt x="18000" y="16894"/>
                </a:lnTo>
                <a:lnTo>
                  <a:pt x="18047" y="16856"/>
                </a:lnTo>
                <a:lnTo>
                  <a:pt x="20576" y="18511"/>
                </a:lnTo>
                <a:cubicBezTo>
                  <a:pt x="20684" y="18599"/>
                  <a:pt x="20834" y="18655"/>
                  <a:pt x="21000" y="18655"/>
                </a:cubicBezTo>
                <a:cubicBezTo>
                  <a:pt x="21332" y="18655"/>
                  <a:pt x="21600" y="18435"/>
                  <a:pt x="21600" y="18164"/>
                </a:cubicBezTo>
                <a:lnTo>
                  <a:pt x="21600" y="491"/>
                </a:lnTo>
                <a:cubicBezTo>
                  <a:pt x="21600" y="220"/>
                  <a:pt x="21332" y="0"/>
                  <a:pt x="21000" y="0"/>
                </a:cubicBezTo>
                <a:moveTo>
                  <a:pt x="10800" y="15709"/>
                </a:moveTo>
                <a:lnTo>
                  <a:pt x="2400" y="15709"/>
                </a:lnTo>
                <a:lnTo>
                  <a:pt x="2400" y="16691"/>
                </a:lnTo>
                <a:lnTo>
                  <a:pt x="10800" y="16691"/>
                </a:lnTo>
                <a:cubicBezTo>
                  <a:pt x="10800" y="16691"/>
                  <a:pt x="10800" y="15709"/>
                  <a:pt x="10800" y="15709"/>
                </a:cubicBezTo>
                <a:close/>
                <a:moveTo>
                  <a:pt x="12000" y="4909"/>
                </a:moveTo>
                <a:lnTo>
                  <a:pt x="10800" y="4909"/>
                </a:lnTo>
                <a:lnTo>
                  <a:pt x="10800" y="9818"/>
                </a:lnTo>
                <a:lnTo>
                  <a:pt x="12000" y="9818"/>
                </a:lnTo>
                <a:cubicBezTo>
                  <a:pt x="12000" y="9818"/>
                  <a:pt x="12000" y="4909"/>
                  <a:pt x="12000" y="4909"/>
                </a:cubicBezTo>
                <a:close/>
                <a:moveTo>
                  <a:pt x="14400" y="4909"/>
                </a:moveTo>
                <a:lnTo>
                  <a:pt x="13200" y="4909"/>
                </a:lnTo>
                <a:lnTo>
                  <a:pt x="13200" y="9818"/>
                </a:lnTo>
                <a:lnTo>
                  <a:pt x="14400" y="9818"/>
                </a:lnTo>
                <a:cubicBezTo>
                  <a:pt x="14400" y="9818"/>
                  <a:pt x="14400" y="4909"/>
                  <a:pt x="14400" y="4909"/>
                </a:cubicBezTo>
                <a:close/>
                <a:moveTo>
                  <a:pt x="7200" y="4909"/>
                </a:moveTo>
                <a:lnTo>
                  <a:pt x="4800" y="4909"/>
                </a:lnTo>
                <a:lnTo>
                  <a:pt x="4800" y="9818"/>
                </a:lnTo>
                <a:lnTo>
                  <a:pt x="7200" y="9818"/>
                </a:lnTo>
                <a:cubicBezTo>
                  <a:pt x="7200" y="9818"/>
                  <a:pt x="7200" y="4909"/>
                  <a:pt x="7200" y="4909"/>
                </a:cubicBezTo>
                <a:close/>
                <a:moveTo>
                  <a:pt x="3600" y="4909"/>
                </a:moveTo>
                <a:lnTo>
                  <a:pt x="2400" y="4909"/>
                </a:lnTo>
                <a:lnTo>
                  <a:pt x="2400" y="9818"/>
                </a:lnTo>
                <a:lnTo>
                  <a:pt x="3600" y="9818"/>
                </a:lnTo>
                <a:cubicBezTo>
                  <a:pt x="3600" y="9818"/>
                  <a:pt x="3600" y="4909"/>
                  <a:pt x="3600" y="4909"/>
                </a:cubicBezTo>
                <a:close/>
                <a:moveTo>
                  <a:pt x="9600" y="4909"/>
                </a:moveTo>
                <a:lnTo>
                  <a:pt x="8400" y="4909"/>
                </a:lnTo>
                <a:lnTo>
                  <a:pt x="8400" y="9818"/>
                </a:lnTo>
                <a:lnTo>
                  <a:pt x="9600" y="9818"/>
                </a:lnTo>
                <a:cubicBezTo>
                  <a:pt x="9600" y="9818"/>
                  <a:pt x="9600" y="4909"/>
                  <a:pt x="9600" y="4909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1" name="Shape 2824">
            <a:extLst>
              <a:ext uri="{FF2B5EF4-FFF2-40B4-BE49-F238E27FC236}">
                <a16:creationId xmlns:a16="http://schemas.microsoft.com/office/drawing/2014/main" id="{248D8DF7-90C2-5D44-8F27-AC35C3F92E59}"/>
              </a:ext>
            </a:extLst>
          </p:cNvPr>
          <p:cNvSpPr/>
          <p:nvPr/>
        </p:nvSpPr>
        <p:spPr>
          <a:xfrm>
            <a:off x="693810" y="3969252"/>
            <a:ext cx="380263" cy="3825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88" extrusionOk="0">
                <a:moveTo>
                  <a:pt x="10309" y="9720"/>
                </a:moveTo>
                <a:lnTo>
                  <a:pt x="9327" y="9720"/>
                </a:lnTo>
                <a:cubicBezTo>
                  <a:pt x="9056" y="9720"/>
                  <a:pt x="8836" y="9937"/>
                  <a:pt x="8836" y="10206"/>
                </a:cubicBezTo>
                <a:cubicBezTo>
                  <a:pt x="8836" y="10475"/>
                  <a:pt x="9056" y="10692"/>
                  <a:pt x="9327" y="10692"/>
                </a:cubicBezTo>
                <a:lnTo>
                  <a:pt x="10309" y="10692"/>
                </a:lnTo>
                <a:cubicBezTo>
                  <a:pt x="10580" y="10692"/>
                  <a:pt x="10800" y="10475"/>
                  <a:pt x="10800" y="10206"/>
                </a:cubicBezTo>
                <a:cubicBezTo>
                  <a:pt x="10800" y="9937"/>
                  <a:pt x="10580" y="9720"/>
                  <a:pt x="10309" y="9720"/>
                </a:cubicBezTo>
                <a:moveTo>
                  <a:pt x="13255" y="18471"/>
                </a:moveTo>
                <a:lnTo>
                  <a:pt x="12273" y="18471"/>
                </a:lnTo>
                <a:cubicBezTo>
                  <a:pt x="12002" y="18471"/>
                  <a:pt x="11782" y="18689"/>
                  <a:pt x="11782" y="18957"/>
                </a:cubicBezTo>
                <a:cubicBezTo>
                  <a:pt x="11782" y="19226"/>
                  <a:pt x="12002" y="19443"/>
                  <a:pt x="12273" y="19443"/>
                </a:cubicBezTo>
                <a:lnTo>
                  <a:pt x="13255" y="19443"/>
                </a:lnTo>
                <a:cubicBezTo>
                  <a:pt x="13525" y="19443"/>
                  <a:pt x="13745" y="19226"/>
                  <a:pt x="13745" y="18957"/>
                </a:cubicBezTo>
                <a:cubicBezTo>
                  <a:pt x="13745" y="18689"/>
                  <a:pt x="13525" y="18471"/>
                  <a:pt x="13255" y="18471"/>
                </a:cubicBezTo>
                <a:moveTo>
                  <a:pt x="10309" y="18471"/>
                </a:moveTo>
                <a:lnTo>
                  <a:pt x="9327" y="18471"/>
                </a:lnTo>
                <a:cubicBezTo>
                  <a:pt x="9056" y="18471"/>
                  <a:pt x="8836" y="18689"/>
                  <a:pt x="8836" y="18957"/>
                </a:cubicBezTo>
                <a:cubicBezTo>
                  <a:pt x="8836" y="19226"/>
                  <a:pt x="9056" y="19443"/>
                  <a:pt x="9327" y="19443"/>
                </a:cubicBezTo>
                <a:lnTo>
                  <a:pt x="10309" y="19443"/>
                </a:lnTo>
                <a:cubicBezTo>
                  <a:pt x="10580" y="19443"/>
                  <a:pt x="10800" y="19226"/>
                  <a:pt x="10800" y="18957"/>
                </a:cubicBezTo>
                <a:cubicBezTo>
                  <a:pt x="10800" y="18689"/>
                  <a:pt x="10580" y="18471"/>
                  <a:pt x="10309" y="18471"/>
                </a:cubicBezTo>
                <a:moveTo>
                  <a:pt x="20618" y="15554"/>
                </a:moveTo>
                <a:cubicBezTo>
                  <a:pt x="20618" y="16091"/>
                  <a:pt x="20178" y="16526"/>
                  <a:pt x="19636" y="16526"/>
                </a:cubicBezTo>
                <a:lnTo>
                  <a:pt x="16691" y="16526"/>
                </a:lnTo>
                <a:cubicBezTo>
                  <a:pt x="16149" y="16526"/>
                  <a:pt x="15709" y="16091"/>
                  <a:pt x="15709" y="15554"/>
                </a:cubicBezTo>
                <a:lnTo>
                  <a:pt x="15709" y="13609"/>
                </a:lnTo>
                <a:cubicBezTo>
                  <a:pt x="15709" y="13073"/>
                  <a:pt x="16149" y="12637"/>
                  <a:pt x="16691" y="12637"/>
                </a:cubicBezTo>
                <a:lnTo>
                  <a:pt x="19636" y="12637"/>
                </a:lnTo>
                <a:cubicBezTo>
                  <a:pt x="20178" y="12637"/>
                  <a:pt x="20618" y="13073"/>
                  <a:pt x="20618" y="13609"/>
                </a:cubicBezTo>
                <a:cubicBezTo>
                  <a:pt x="20618" y="13609"/>
                  <a:pt x="20618" y="15554"/>
                  <a:pt x="20618" y="15554"/>
                </a:cubicBezTo>
                <a:close/>
                <a:moveTo>
                  <a:pt x="18655" y="19443"/>
                </a:moveTo>
                <a:cubicBezTo>
                  <a:pt x="18655" y="19980"/>
                  <a:pt x="18215" y="20416"/>
                  <a:pt x="17673" y="20416"/>
                </a:cubicBezTo>
                <a:lnTo>
                  <a:pt x="1964" y="20416"/>
                </a:lnTo>
                <a:cubicBezTo>
                  <a:pt x="1422" y="20416"/>
                  <a:pt x="982" y="19980"/>
                  <a:pt x="982" y="19443"/>
                </a:cubicBezTo>
                <a:lnTo>
                  <a:pt x="982" y="9720"/>
                </a:lnTo>
                <a:cubicBezTo>
                  <a:pt x="982" y="9183"/>
                  <a:pt x="1422" y="8747"/>
                  <a:pt x="1964" y="8747"/>
                </a:cubicBezTo>
                <a:lnTo>
                  <a:pt x="17673" y="8747"/>
                </a:lnTo>
                <a:cubicBezTo>
                  <a:pt x="18215" y="8747"/>
                  <a:pt x="18655" y="9183"/>
                  <a:pt x="18655" y="9720"/>
                </a:cubicBezTo>
                <a:lnTo>
                  <a:pt x="18655" y="11664"/>
                </a:lnTo>
                <a:lnTo>
                  <a:pt x="16691" y="11664"/>
                </a:lnTo>
                <a:cubicBezTo>
                  <a:pt x="15606" y="11664"/>
                  <a:pt x="14727" y="12535"/>
                  <a:pt x="14727" y="13609"/>
                </a:cubicBezTo>
                <a:lnTo>
                  <a:pt x="14727" y="15554"/>
                </a:lnTo>
                <a:cubicBezTo>
                  <a:pt x="14727" y="16628"/>
                  <a:pt x="15606" y="17499"/>
                  <a:pt x="16691" y="17499"/>
                </a:cubicBezTo>
                <a:lnTo>
                  <a:pt x="18655" y="17499"/>
                </a:lnTo>
                <a:cubicBezTo>
                  <a:pt x="18655" y="17499"/>
                  <a:pt x="18655" y="19443"/>
                  <a:pt x="18655" y="19443"/>
                </a:cubicBezTo>
                <a:close/>
                <a:moveTo>
                  <a:pt x="982" y="7775"/>
                </a:moveTo>
                <a:cubicBezTo>
                  <a:pt x="982" y="7238"/>
                  <a:pt x="1422" y="6803"/>
                  <a:pt x="1964" y="6803"/>
                </a:cubicBezTo>
                <a:lnTo>
                  <a:pt x="2555" y="6803"/>
                </a:lnTo>
                <a:lnTo>
                  <a:pt x="2817" y="7775"/>
                </a:lnTo>
                <a:lnTo>
                  <a:pt x="1964" y="7775"/>
                </a:lnTo>
                <a:cubicBezTo>
                  <a:pt x="1604" y="7775"/>
                  <a:pt x="1271" y="7878"/>
                  <a:pt x="982" y="8045"/>
                </a:cubicBezTo>
                <a:cubicBezTo>
                  <a:pt x="982" y="8045"/>
                  <a:pt x="982" y="7775"/>
                  <a:pt x="982" y="7775"/>
                </a:cubicBezTo>
                <a:close/>
                <a:moveTo>
                  <a:pt x="3721" y="3600"/>
                </a:moveTo>
                <a:lnTo>
                  <a:pt x="13629" y="1005"/>
                </a:lnTo>
                <a:cubicBezTo>
                  <a:pt x="14152" y="866"/>
                  <a:pt x="14690" y="1174"/>
                  <a:pt x="14831" y="1693"/>
                </a:cubicBezTo>
                <a:lnTo>
                  <a:pt x="15085" y="2631"/>
                </a:lnTo>
                <a:lnTo>
                  <a:pt x="3281" y="5731"/>
                </a:lnTo>
                <a:lnTo>
                  <a:pt x="3026" y="4791"/>
                </a:lnTo>
                <a:cubicBezTo>
                  <a:pt x="2886" y="4272"/>
                  <a:pt x="3197" y="3739"/>
                  <a:pt x="3721" y="3600"/>
                </a:cubicBezTo>
                <a:moveTo>
                  <a:pt x="15847" y="5448"/>
                </a:moveTo>
                <a:lnTo>
                  <a:pt x="16476" y="7775"/>
                </a:lnTo>
                <a:lnTo>
                  <a:pt x="6989" y="7775"/>
                </a:lnTo>
                <a:cubicBezTo>
                  <a:pt x="6989" y="7775"/>
                  <a:pt x="15847" y="5448"/>
                  <a:pt x="15847" y="5448"/>
                </a:cubicBezTo>
                <a:close/>
                <a:moveTo>
                  <a:pt x="17673" y="6803"/>
                </a:moveTo>
                <a:cubicBezTo>
                  <a:pt x="18215" y="6803"/>
                  <a:pt x="18655" y="7238"/>
                  <a:pt x="18655" y="7775"/>
                </a:cubicBezTo>
                <a:lnTo>
                  <a:pt x="18655" y="8045"/>
                </a:lnTo>
                <a:cubicBezTo>
                  <a:pt x="18365" y="7878"/>
                  <a:pt x="18032" y="7775"/>
                  <a:pt x="17673" y="7775"/>
                </a:cubicBezTo>
                <a:lnTo>
                  <a:pt x="17493" y="7775"/>
                </a:lnTo>
                <a:lnTo>
                  <a:pt x="17230" y="6803"/>
                </a:lnTo>
                <a:cubicBezTo>
                  <a:pt x="17230" y="6803"/>
                  <a:pt x="17673" y="6803"/>
                  <a:pt x="17673" y="6803"/>
                </a:cubicBezTo>
                <a:close/>
                <a:moveTo>
                  <a:pt x="19636" y="11664"/>
                </a:moveTo>
                <a:lnTo>
                  <a:pt x="19636" y="7775"/>
                </a:lnTo>
                <a:cubicBezTo>
                  <a:pt x="19636" y="6701"/>
                  <a:pt x="18757" y="5830"/>
                  <a:pt x="17673" y="5830"/>
                </a:cubicBezTo>
                <a:lnTo>
                  <a:pt x="16967" y="5830"/>
                </a:lnTo>
                <a:lnTo>
                  <a:pt x="15779" y="1441"/>
                </a:lnTo>
                <a:cubicBezTo>
                  <a:pt x="15498" y="404"/>
                  <a:pt x="14422" y="-212"/>
                  <a:pt x="13374" y="66"/>
                </a:cubicBezTo>
                <a:lnTo>
                  <a:pt x="3467" y="2660"/>
                </a:lnTo>
                <a:cubicBezTo>
                  <a:pt x="2419" y="2939"/>
                  <a:pt x="1798" y="4005"/>
                  <a:pt x="2078" y="5042"/>
                </a:cubicBezTo>
                <a:lnTo>
                  <a:pt x="2291" y="5830"/>
                </a:lnTo>
                <a:lnTo>
                  <a:pt x="1964" y="5830"/>
                </a:lnTo>
                <a:cubicBezTo>
                  <a:pt x="879" y="5830"/>
                  <a:pt x="0" y="6701"/>
                  <a:pt x="0" y="7775"/>
                </a:cubicBezTo>
                <a:lnTo>
                  <a:pt x="0" y="19443"/>
                </a:lnTo>
                <a:cubicBezTo>
                  <a:pt x="0" y="20517"/>
                  <a:pt x="879" y="21388"/>
                  <a:pt x="1964" y="21388"/>
                </a:cubicBezTo>
                <a:lnTo>
                  <a:pt x="17673" y="21388"/>
                </a:lnTo>
                <a:cubicBezTo>
                  <a:pt x="18757" y="21388"/>
                  <a:pt x="19636" y="20517"/>
                  <a:pt x="19636" y="19443"/>
                </a:cubicBezTo>
                <a:lnTo>
                  <a:pt x="19636" y="17499"/>
                </a:lnTo>
                <a:cubicBezTo>
                  <a:pt x="20721" y="17499"/>
                  <a:pt x="21600" y="16628"/>
                  <a:pt x="21600" y="15554"/>
                </a:cubicBezTo>
                <a:lnTo>
                  <a:pt x="21600" y="13609"/>
                </a:lnTo>
                <a:cubicBezTo>
                  <a:pt x="21600" y="12535"/>
                  <a:pt x="20721" y="11664"/>
                  <a:pt x="19636" y="11664"/>
                </a:cubicBezTo>
                <a:moveTo>
                  <a:pt x="13255" y="9720"/>
                </a:moveTo>
                <a:lnTo>
                  <a:pt x="12273" y="9720"/>
                </a:lnTo>
                <a:cubicBezTo>
                  <a:pt x="12002" y="9720"/>
                  <a:pt x="11782" y="9937"/>
                  <a:pt x="11782" y="10206"/>
                </a:cubicBezTo>
                <a:cubicBezTo>
                  <a:pt x="11782" y="10475"/>
                  <a:pt x="12002" y="10692"/>
                  <a:pt x="12273" y="10692"/>
                </a:cubicBezTo>
                <a:lnTo>
                  <a:pt x="13255" y="10692"/>
                </a:lnTo>
                <a:cubicBezTo>
                  <a:pt x="13525" y="10692"/>
                  <a:pt x="13745" y="10475"/>
                  <a:pt x="13745" y="10206"/>
                </a:cubicBezTo>
                <a:cubicBezTo>
                  <a:pt x="13745" y="9937"/>
                  <a:pt x="13525" y="9720"/>
                  <a:pt x="13255" y="9720"/>
                </a:cubicBezTo>
                <a:moveTo>
                  <a:pt x="7364" y="9720"/>
                </a:moveTo>
                <a:lnTo>
                  <a:pt x="6382" y="9720"/>
                </a:lnTo>
                <a:cubicBezTo>
                  <a:pt x="6111" y="9720"/>
                  <a:pt x="5891" y="9937"/>
                  <a:pt x="5891" y="10206"/>
                </a:cubicBezTo>
                <a:cubicBezTo>
                  <a:pt x="5891" y="10475"/>
                  <a:pt x="6111" y="10692"/>
                  <a:pt x="6382" y="10692"/>
                </a:cubicBezTo>
                <a:lnTo>
                  <a:pt x="7364" y="10692"/>
                </a:lnTo>
                <a:cubicBezTo>
                  <a:pt x="7634" y="10692"/>
                  <a:pt x="7855" y="10475"/>
                  <a:pt x="7855" y="10206"/>
                </a:cubicBezTo>
                <a:cubicBezTo>
                  <a:pt x="7855" y="9937"/>
                  <a:pt x="7634" y="9720"/>
                  <a:pt x="7364" y="9720"/>
                </a:cubicBezTo>
                <a:moveTo>
                  <a:pt x="17182" y="14095"/>
                </a:moveTo>
                <a:cubicBezTo>
                  <a:pt x="16911" y="14095"/>
                  <a:pt x="16691" y="14313"/>
                  <a:pt x="16691" y="14581"/>
                </a:cubicBezTo>
                <a:cubicBezTo>
                  <a:pt x="16691" y="14850"/>
                  <a:pt x="16911" y="15068"/>
                  <a:pt x="17182" y="15068"/>
                </a:cubicBezTo>
                <a:cubicBezTo>
                  <a:pt x="17453" y="15068"/>
                  <a:pt x="17673" y="14850"/>
                  <a:pt x="17673" y="14581"/>
                </a:cubicBezTo>
                <a:cubicBezTo>
                  <a:pt x="17673" y="14313"/>
                  <a:pt x="17453" y="14095"/>
                  <a:pt x="17182" y="14095"/>
                </a:cubicBezTo>
                <a:moveTo>
                  <a:pt x="16200" y="18471"/>
                </a:moveTo>
                <a:lnTo>
                  <a:pt x="15218" y="18471"/>
                </a:lnTo>
                <a:cubicBezTo>
                  <a:pt x="14947" y="18471"/>
                  <a:pt x="14727" y="18689"/>
                  <a:pt x="14727" y="18957"/>
                </a:cubicBezTo>
                <a:cubicBezTo>
                  <a:pt x="14727" y="19226"/>
                  <a:pt x="14947" y="19443"/>
                  <a:pt x="15218" y="19443"/>
                </a:cubicBezTo>
                <a:lnTo>
                  <a:pt x="16200" y="19443"/>
                </a:lnTo>
                <a:cubicBezTo>
                  <a:pt x="16471" y="19443"/>
                  <a:pt x="16691" y="19226"/>
                  <a:pt x="16691" y="18957"/>
                </a:cubicBezTo>
                <a:cubicBezTo>
                  <a:pt x="16691" y="18689"/>
                  <a:pt x="16471" y="18471"/>
                  <a:pt x="16200" y="18471"/>
                </a:cubicBezTo>
                <a:moveTo>
                  <a:pt x="15218" y="10692"/>
                </a:moveTo>
                <a:lnTo>
                  <a:pt x="16200" y="10692"/>
                </a:lnTo>
                <a:cubicBezTo>
                  <a:pt x="16471" y="10692"/>
                  <a:pt x="16691" y="10475"/>
                  <a:pt x="16691" y="10206"/>
                </a:cubicBezTo>
                <a:cubicBezTo>
                  <a:pt x="16691" y="9937"/>
                  <a:pt x="16471" y="9720"/>
                  <a:pt x="16200" y="9720"/>
                </a:cubicBezTo>
                <a:lnTo>
                  <a:pt x="15218" y="9720"/>
                </a:lnTo>
                <a:cubicBezTo>
                  <a:pt x="14947" y="9720"/>
                  <a:pt x="14727" y="9937"/>
                  <a:pt x="14727" y="10206"/>
                </a:cubicBezTo>
                <a:cubicBezTo>
                  <a:pt x="14727" y="10475"/>
                  <a:pt x="14947" y="10692"/>
                  <a:pt x="15218" y="10692"/>
                </a:cubicBezTo>
                <a:moveTo>
                  <a:pt x="4418" y="18471"/>
                </a:moveTo>
                <a:lnTo>
                  <a:pt x="3436" y="18471"/>
                </a:lnTo>
                <a:cubicBezTo>
                  <a:pt x="3166" y="18471"/>
                  <a:pt x="2945" y="18689"/>
                  <a:pt x="2945" y="18957"/>
                </a:cubicBezTo>
                <a:cubicBezTo>
                  <a:pt x="2945" y="19226"/>
                  <a:pt x="3166" y="19443"/>
                  <a:pt x="3436" y="19443"/>
                </a:cubicBezTo>
                <a:lnTo>
                  <a:pt x="4418" y="19443"/>
                </a:lnTo>
                <a:cubicBezTo>
                  <a:pt x="4689" y="19443"/>
                  <a:pt x="4909" y="19226"/>
                  <a:pt x="4909" y="18957"/>
                </a:cubicBezTo>
                <a:cubicBezTo>
                  <a:pt x="4909" y="18689"/>
                  <a:pt x="4689" y="18471"/>
                  <a:pt x="4418" y="18471"/>
                </a:cubicBezTo>
                <a:moveTo>
                  <a:pt x="7364" y="18471"/>
                </a:moveTo>
                <a:lnTo>
                  <a:pt x="6382" y="18471"/>
                </a:lnTo>
                <a:cubicBezTo>
                  <a:pt x="6111" y="18471"/>
                  <a:pt x="5891" y="18689"/>
                  <a:pt x="5891" y="18957"/>
                </a:cubicBezTo>
                <a:cubicBezTo>
                  <a:pt x="5891" y="19226"/>
                  <a:pt x="6111" y="19443"/>
                  <a:pt x="6382" y="19443"/>
                </a:cubicBezTo>
                <a:lnTo>
                  <a:pt x="7364" y="19443"/>
                </a:lnTo>
                <a:cubicBezTo>
                  <a:pt x="7634" y="19443"/>
                  <a:pt x="7855" y="19226"/>
                  <a:pt x="7855" y="18957"/>
                </a:cubicBezTo>
                <a:cubicBezTo>
                  <a:pt x="7855" y="18689"/>
                  <a:pt x="7634" y="18471"/>
                  <a:pt x="7364" y="18471"/>
                </a:cubicBezTo>
                <a:moveTo>
                  <a:pt x="4418" y="9720"/>
                </a:moveTo>
                <a:lnTo>
                  <a:pt x="3436" y="9720"/>
                </a:lnTo>
                <a:cubicBezTo>
                  <a:pt x="3166" y="9720"/>
                  <a:pt x="2945" y="9937"/>
                  <a:pt x="2945" y="10206"/>
                </a:cubicBezTo>
                <a:cubicBezTo>
                  <a:pt x="2945" y="10475"/>
                  <a:pt x="3166" y="10692"/>
                  <a:pt x="3436" y="10692"/>
                </a:cubicBezTo>
                <a:lnTo>
                  <a:pt x="4418" y="10692"/>
                </a:lnTo>
                <a:cubicBezTo>
                  <a:pt x="4689" y="10692"/>
                  <a:pt x="4909" y="10475"/>
                  <a:pt x="4909" y="10206"/>
                </a:cubicBezTo>
                <a:cubicBezTo>
                  <a:pt x="4909" y="9937"/>
                  <a:pt x="4689" y="9720"/>
                  <a:pt x="4418" y="9720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2" name="Shape 2622">
            <a:extLst>
              <a:ext uri="{FF2B5EF4-FFF2-40B4-BE49-F238E27FC236}">
                <a16:creationId xmlns:a16="http://schemas.microsoft.com/office/drawing/2014/main" id="{E63BA742-EC5D-ED4C-9FD0-B9778532FCF1}"/>
              </a:ext>
            </a:extLst>
          </p:cNvPr>
          <p:cNvSpPr/>
          <p:nvPr/>
        </p:nvSpPr>
        <p:spPr>
          <a:xfrm>
            <a:off x="720577" y="4747706"/>
            <a:ext cx="326727" cy="3303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579" y="17044"/>
                </a:moveTo>
                <a:cubicBezTo>
                  <a:pt x="9428" y="17174"/>
                  <a:pt x="9252" y="17274"/>
                  <a:pt x="9050" y="17344"/>
                </a:cubicBezTo>
                <a:cubicBezTo>
                  <a:pt x="8849" y="17415"/>
                  <a:pt x="8636" y="17450"/>
                  <a:pt x="8413" y="17450"/>
                </a:cubicBezTo>
                <a:cubicBezTo>
                  <a:pt x="7887" y="17450"/>
                  <a:pt x="7488" y="17288"/>
                  <a:pt x="7214" y="16966"/>
                </a:cubicBezTo>
                <a:cubicBezTo>
                  <a:pt x="6941" y="16644"/>
                  <a:pt x="6797" y="16226"/>
                  <a:pt x="6782" y="15715"/>
                </a:cubicBezTo>
                <a:lnTo>
                  <a:pt x="5864" y="15715"/>
                </a:lnTo>
                <a:cubicBezTo>
                  <a:pt x="5857" y="16122"/>
                  <a:pt x="5913" y="16486"/>
                  <a:pt x="6032" y="16805"/>
                </a:cubicBezTo>
                <a:cubicBezTo>
                  <a:pt x="6151" y="17123"/>
                  <a:pt x="6321" y="17393"/>
                  <a:pt x="6545" y="17611"/>
                </a:cubicBezTo>
                <a:cubicBezTo>
                  <a:pt x="6767" y="17830"/>
                  <a:pt x="7038" y="17995"/>
                  <a:pt x="7355" y="18106"/>
                </a:cubicBezTo>
                <a:cubicBezTo>
                  <a:pt x="7671" y="18218"/>
                  <a:pt x="8024" y="18273"/>
                  <a:pt x="8413" y="18273"/>
                </a:cubicBezTo>
                <a:cubicBezTo>
                  <a:pt x="8773" y="18273"/>
                  <a:pt x="9113" y="18223"/>
                  <a:pt x="9434" y="18123"/>
                </a:cubicBezTo>
                <a:cubicBezTo>
                  <a:pt x="9754" y="18023"/>
                  <a:pt x="10033" y="17873"/>
                  <a:pt x="10271" y="17672"/>
                </a:cubicBezTo>
                <a:cubicBezTo>
                  <a:pt x="10509" y="17472"/>
                  <a:pt x="10697" y="17222"/>
                  <a:pt x="10837" y="16922"/>
                </a:cubicBezTo>
                <a:cubicBezTo>
                  <a:pt x="10978" y="16621"/>
                  <a:pt x="11048" y="16275"/>
                  <a:pt x="11048" y="15881"/>
                </a:cubicBezTo>
                <a:cubicBezTo>
                  <a:pt x="11048" y="15407"/>
                  <a:pt x="10935" y="14995"/>
                  <a:pt x="10708" y="14646"/>
                </a:cubicBezTo>
                <a:cubicBezTo>
                  <a:pt x="10481" y="14298"/>
                  <a:pt x="10134" y="14072"/>
                  <a:pt x="9666" y="13968"/>
                </a:cubicBezTo>
                <a:lnTo>
                  <a:pt x="9666" y="13946"/>
                </a:lnTo>
                <a:cubicBezTo>
                  <a:pt x="9968" y="13805"/>
                  <a:pt x="10220" y="13597"/>
                  <a:pt x="10422" y="13323"/>
                </a:cubicBezTo>
                <a:cubicBezTo>
                  <a:pt x="10624" y="13048"/>
                  <a:pt x="10724" y="12734"/>
                  <a:pt x="10724" y="12377"/>
                </a:cubicBezTo>
                <a:cubicBezTo>
                  <a:pt x="10724" y="12014"/>
                  <a:pt x="10665" y="11698"/>
                  <a:pt x="10546" y="11432"/>
                </a:cubicBezTo>
                <a:cubicBezTo>
                  <a:pt x="10427" y="11165"/>
                  <a:pt x="10263" y="10946"/>
                  <a:pt x="10055" y="10776"/>
                </a:cubicBezTo>
                <a:cubicBezTo>
                  <a:pt x="9846" y="10605"/>
                  <a:pt x="9599" y="10477"/>
                  <a:pt x="9315" y="10392"/>
                </a:cubicBezTo>
                <a:cubicBezTo>
                  <a:pt x="9030" y="10306"/>
                  <a:pt x="8722" y="10264"/>
                  <a:pt x="8391" y="10264"/>
                </a:cubicBezTo>
                <a:cubicBezTo>
                  <a:pt x="8010" y="10264"/>
                  <a:pt x="7673" y="10326"/>
                  <a:pt x="7382" y="10453"/>
                </a:cubicBezTo>
                <a:cubicBezTo>
                  <a:pt x="7090" y="10579"/>
                  <a:pt x="6847" y="10753"/>
                  <a:pt x="6653" y="10976"/>
                </a:cubicBezTo>
                <a:cubicBezTo>
                  <a:pt x="6459" y="11198"/>
                  <a:pt x="6309" y="11466"/>
                  <a:pt x="6204" y="11777"/>
                </a:cubicBezTo>
                <a:cubicBezTo>
                  <a:pt x="6100" y="12088"/>
                  <a:pt x="6040" y="12433"/>
                  <a:pt x="6026" y="12811"/>
                </a:cubicBezTo>
                <a:lnTo>
                  <a:pt x="6944" y="12811"/>
                </a:lnTo>
                <a:cubicBezTo>
                  <a:pt x="6944" y="12581"/>
                  <a:pt x="6972" y="12363"/>
                  <a:pt x="7031" y="12155"/>
                </a:cubicBezTo>
                <a:cubicBezTo>
                  <a:pt x="7088" y="11947"/>
                  <a:pt x="7177" y="11766"/>
                  <a:pt x="7296" y="11610"/>
                </a:cubicBezTo>
                <a:cubicBezTo>
                  <a:pt x="7414" y="11454"/>
                  <a:pt x="7565" y="11330"/>
                  <a:pt x="7749" y="11237"/>
                </a:cubicBezTo>
                <a:cubicBezTo>
                  <a:pt x="7932" y="11144"/>
                  <a:pt x="8147" y="11098"/>
                  <a:pt x="8391" y="11098"/>
                </a:cubicBezTo>
                <a:cubicBezTo>
                  <a:pt x="8780" y="11098"/>
                  <a:pt x="9104" y="11204"/>
                  <a:pt x="9364" y="11415"/>
                </a:cubicBezTo>
                <a:cubicBezTo>
                  <a:pt x="9623" y="11627"/>
                  <a:pt x="9752" y="11943"/>
                  <a:pt x="9752" y="12366"/>
                </a:cubicBezTo>
                <a:cubicBezTo>
                  <a:pt x="9752" y="12574"/>
                  <a:pt x="9713" y="12759"/>
                  <a:pt x="9634" y="12922"/>
                </a:cubicBezTo>
                <a:cubicBezTo>
                  <a:pt x="9554" y="13086"/>
                  <a:pt x="9448" y="13221"/>
                  <a:pt x="9315" y="13329"/>
                </a:cubicBezTo>
                <a:cubicBezTo>
                  <a:pt x="9182" y="13436"/>
                  <a:pt x="9027" y="13517"/>
                  <a:pt x="8851" y="13574"/>
                </a:cubicBezTo>
                <a:cubicBezTo>
                  <a:pt x="8674" y="13629"/>
                  <a:pt x="8488" y="13657"/>
                  <a:pt x="8294" y="13657"/>
                </a:cubicBezTo>
                <a:lnTo>
                  <a:pt x="7992" y="13657"/>
                </a:lnTo>
                <a:cubicBezTo>
                  <a:pt x="7963" y="13657"/>
                  <a:pt x="7930" y="13653"/>
                  <a:pt x="7895" y="13645"/>
                </a:cubicBezTo>
                <a:lnTo>
                  <a:pt x="7895" y="14447"/>
                </a:lnTo>
                <a:cubicBezTo>
                  <a:pt x="8067" y="14424"/>
                  <a:pt x="8251" y="14413"/>
                  <a:pt x="8445" y="14413"/>
                </a:cubicBezTo>
                <a:cubicBezTo>
                  <a:pt x="8676" y="14413"/>
                  <a:pt x="8890" y="14444"/>
                  <a:pt x="9088" y="14507"/>
                </a:cubicBezTo>
                <a:cubicBezTo>
                  <a:pt x="9286" y="14571"/>
                  <a:pt x="9457" y="14667"/>
                  <a:pt x="9601" y="14797"/>
                </a:cubicBezTo>
                <a:cubicBezTo>
                  <a:pt x="9745" y="14927"/>
                  <a:pt x="9860" y="15086"/>
                  <a:pt x="9947" y="15275"/>
                </a:cubicBezTo>
                <a:cubicBezTo>
                  <a:pt x="10033" y="15464"/>
                  <a:pt x="10076" y="15682"/>
                  <a:pt x="10076" y="15926"/>
                </a:cubicBezTo>
                <a:cubicBezTo>
                  <a:pt x="10076" y="16163"/>
                  <a:pt x="10031" y="16377"/>
                  <a:pt x="9941" y="16565"/>
                </a:cubicBezTo>
                <a:cubicBezTo>
                  <a:pt x="9851" y="16754"/>
                  <a:pt x="9731" y="16914"/>
                  <a:pt x="9579" y="17044"/>
                </a:cubicBezTo>
                <a:moveTo>
                  <a:pt x="14257" y="18151"/>
                </a:moveTo>
                <a:lnTo>
                  <a:pt x="15175" y="18151"/>
                </a:lnTo>
                <a:lnTo>
                  <a:pt x="15175" y="10264"/>
                </a:lnTo>
                <a:lnTo>
                  <a:pt x="14473" y="10264"/>
                </a:lnTo>
                <a:cubicBezTo>
                  <a:pt x="14422" y="10561"/>
                  <a:pt x="14329" y="10805"/>
                  <a:pt x="14192" y="10998"/>
                </a:cubicBezTo>
                <a:cubicBezTo>
                  <a:pt x="14055" y="11191"/>
                  <a:pt x="13888" y="11343"/>
                  <a:pt x="13690" y="11454"/>
                </a:cubicBezTo>
                <a:cubicBezTo>
                  <a:pt x="13492" y="11565"/>
                  <a:pt x="13271" y="11641"/>
                  <a:pt x="13026" y="11682"/>
                </a:cubicBezTo>
                <a:cubicBezTo>
                  <a:pt x="12781" y="11723"/>
                  <a:pt x="12529" y="11743"/>
                  <a:pt x="12270" y="11743"/>
                </a:cubicBezTo>
                <a:lnTo>
                  <a:pt x="12270" y="12499"/>
                </a:lnTo>
                <a:lnTo>
                  <a:pt x="14257" y="12499"/>
                </a:lnTo>
                <a:cubicBezTo>
                  <a:pt x="14257" y="12499"/>
                  <a:pt x="14257" y="18151"/>
                  <a:pt x="14257" y="1815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1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9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1" y="20618"/>
                  <a:pt x="982" y="20179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3" name="Shape 2912">
            <a:extLst>
              <a:ext uri="{FF2B5EF4-FFF2-40B4-BE49-F238E27FC236}">
                <a16:creationId xmlns:a16="http://schemas.microsoft.com/office/drawing/2014/main" id="{27AC145B-4645-C348-82A7-19A4F73FC2ED}"/>
              </a:ext>
            </a:extLst>
          </p:cNvPr>
          <p:cNvSpPr/>
          <p:nvPr/>
        </p:nvSpPr>
        <p:spPr>
          <a:xfrm rot="2670321">
            <a:off x="651530" y="5390778"/>
            <a:ext cx="443833" cy="4444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56" y="10453"/>
                </a:moveTo>
                <a:lnTo>
                  <a:pt x="18511" y="7507"/>
                </a:lnTo>
                <a:cubicBezTo>
                  <a:pt x="18422" y="7419"/>
                  <a:pt x="18299" y="7364"/>
                  <a:pt x="18164" y="7364"/>
                </a:cubicBezTo>
                <a:cubicBezTo>
                  <a:pt x="17892" y="7364"/>
                  <a:pt x="17673" y="7584"/>
                  <a:pt x="17673" y="7855"/>
                </a:cubicBezTo>
                <a:cubicBezTo>
                  <a:pt x="17673" y="7990"/>
                  <a:pt x="17728" y="8113"/>
                  <a:pt x="17817" y="8202"/>
                </a:cubicBezTo>
                <a:lnTo>
                  <a:pt x="19924" y="10309"/>
                </a:lnTo>
                <a:lnTo>
                  <a:pt x="11291" y="10309"/>
                </a:lnTo>
                <a:lnTo>
                  <a:pt x="11291" y="1676"/>
                </a:lnTo>
                <a:lnTo>
                  <a:pt x="13398" y="3783"/>
                </a:lnTo>
                <a:cubicBezTo>
                  <a:pt x="13487" y="3873"/>
                  <a:pt x="13610" y="3927"/>
                  <a:pt x="13745" y="3927"/>
                </a:cubicBezTo>
                <a:cubicBezTo>
                  <a:pt x="14017" y="3927"/>
                  <a:pt x="14236" y="3708"/>
                  <a:pt x="14236" y="3436"/>
                </a:cubicBezTo>
                <a:cubicBezTo>
                  <a:pt x="14236" y="3301"/>
                  <a:pt x="14181" y="3178"/>
                  <a:pt x="14093" y="3089"/>
                </a:cubicBezTo>
                <a:lnTo>
                  <a:pt x="11147" y="144"/>
                </a:lnTo>
                <a:cubicBezTo>
                  <a:pt x="11058" y="55"/>
                  <a:pt x="10936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7507" y="3089"/>
                </a:lnTo>
                <a:cubicBezTo>
                  <a:pt x="7418" y="3178"/>
                  <a:pt x="7364" y="3301"/>
                  <a:pt x="7364" y="3436"/>
                </a:cubicBezTo>
                <a:cubicBezTo>
                  <a:pt x="7364" y="3708"/>
                  <a:pt x="7583" y="3927"/>
                  <a:pt x="7855" y="3927"/>
                </a:cubicBezTo>
                <a:cubicBezTo>
                  <a:pt x="7990" y="3927"/>
                  <a:pt x="8113" y="3873"/>
                  <a:pt x="8202" y="3783"/>
                </a:cubicBezTo>
                <a:lnTo>
                  <a:pt x="10309" y="1676"/>
                </a:lnTo>
                <a:lnTo>
                  <a:pt x="10309" y="10309"/>
                </a:lnTo>
                <a:lnTo>
                  <a:pt x="1676" y="10309"/>
                </a:lnTo>
                <a:lnTo>
                  <a:pt x="3783" y="8202"/>
                </a:lnTo>
                <a:cubicBezTo>
                  <a:pt x="3873" y="8113"/>
                  <a:pt x="3927" y="7990"/>
                  <a:pt x="3927" y="7855"/>
                </a:cubicBezTo>
                <a:cubicBezTo>
                  <a:pt x="3927" y="7584"/>
                  <a:pt x="3708" y="7364"/>
                  <a:pt x="3436" y="7364"/>
                </a:cubicBezTo>
                <a:cubicBezTo>
                  <a:pt x="3301" y="7364"/>
                  <a:pt x="3178" y="7419"/>
                  <a:pt x="3089" y="7507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0936"/>
                  <a:pt x="55" y="11058"/>
                  <a:pt x="144" y="11148"/>
                </a:cubicBezTo>
                <a:lnTo>
                  <a:pt x="3089" y="14093"/>
                </a:lnTo>
                <a:cubicBezTo>
                  <a:pt x="3178" y="14182"/>
                  <a:pt x="3301" y="14236"/>
                  <a:pt x="3436" y="14236"/>
                </a:cubicBezTo>
                <a:cubicBezTo>
                  <a:pt x="3708" y="14236"/>
                  <a:pt x="3927" y="14017"/>
                  <a:pt x="3927" y="13745"/>
                </a:cubicBezTo>
                <a:cubicBezTo>
                  <a:pt x="3927" y="13610"/>
                  <a:pt x="3873" y="13488"/>
                  <a:pt x="3783" y="13398"/>
                </a:cubicBezTo>
                <a:lnTo>
                  <a:pt x="1676" y="11291"/>
                </a:lnTo>
                <a:lnTo>
                  <a:pt x="10309" y="11291"/>
                </a:lnTo>
                <a:lnTo>
                  <a:pt x="10309" y="19924"/>
                </a:lnTo>
                <a:lnTo>
                  <a:pt x="8202" y="17817"/>
                </a:lnTo>
                <a:cubicBezTo>
                  <a:pt x="8113" y="17728"/>
                  <a:pt x="7990" y="17673"/>
                  <a:pt x="7855" y="17673"/>
                </a:cubicBezTo>
                <a:cubicBezTo>
                  <a:pt x="7583" y="17673"/>
                  <a:pt x="7364" y="17893"/>
                  <a:pt x="7364" y="18164"/>
                </a:cubicBezTo>
                <a:cubicBezTo>
                  <a:pt x="7364" y="18300"/>
                  <a:pt x="7418" y="18422"/>
                  <a:pt x="7507" y="18511"/>
                </a:cubicBezTo>
                <a:lnTo>
                  <a:pt x="10453" y="21456"/>
                </a:lnTo>
                <a:cubicBezTo>
                  <a:pt x="10542" y="21545"/>
                  <a:pt x="10665" y="21600"/>
                  <a:pt x="10800" y="21600"/>
                </a:cubicBezTo>
                <a:cubicBezTo>
                  <a:pt x="10936" y="21600"/>
                  <a:pt x="11058" y="21545"/>
                  <a:pt x="11147" y="21456"/>
                </a:cubicBezTo>
                <a:lnTo>
                  <a:pt x="14093" y="18511"/>
                </a:lnTo>
                <a:cubicBezTo>
                  <a:pt x="14182" y="18422"/>
                  <a:pt x="14236" y="18300"/>
                  <a:pt x="14236" y="18164"/>
                </a:cubicBezTo>
                <a:cubicBezTo>
                  <a:pt x="14236" y="17893"/>
                  <a:pt x="14017" y="17673"/>
                  <a:pt x="13745" y="17673"/>
                </a:cubicBezTo>
                <a:cubicBezTo>
                  <a:pt x="13610" y="17673"/>
                  <a:pt x="13487" y="17728"/>
                  <a:pt x="13398" y="17817"/>
                </a:cubicBezTo>
                <a:lnTo>
                  <a:pt x="11291" y="19924"/>
                </a:lnTo>
                <a:lnTo>
                  <a:pt x="11291" y="11291"/>
                </a:lnTo>
                <a:lnTo>
                  <a:pt x="19924" y="11291"/>
                </a:lnTo>
                <a:lnTo>
                  <a:pt x="17817" y="13398"/>
                </a:lnTo>
                <a:cubicBezTo>
                  <a:pt x="17728" y="13488"/>
                  <a:pt x="17673" y="13610"/>
                  <a:pt x="17673" y="13745"/>
                </a:cubicBezTo>
                <a:cubicBezTo>
                  <a:pt x="17673" y="14017"/>
                  <a:pt x="17892" y="14236"/>
                  <a:pt x="18164" y="14236"/>
                </a:cubicBezTo>
                <a:cubicBezTo>
                  <a:pt x="18299" y="14236"/>
                  <a:pt x="18422" y="14182"/>
                  <a:pt x="18511" y="14093"/>
                </a:cubicBezTo>
                <a:lnTo>
                  <a:pt x="21456" y="11148"/>
                </a:lnTo>
                <a:cubicBezTo>
                  <a:pt x="21545" y="11058"/>
                  <a:pt x="21600" y="10936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41840503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Environm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32971" y="1632983"/>
            <a:ext cx="111233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defRPr>
            </a:lvl1pPr>
          </a:lstStyle>
          <a:p>
            <a:r>
              <a:rPr lang="en-US" dirty="0"/>
              <a:t>The Prominent Features and Incentives Granted to Foreign Investors on the Amendments of the UAE Federal Law No. (2) Of 2015 on Commercial Companie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25714" y="2504483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526716" y="3197149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532969" y="391133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532969" y="4597105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532968" y="528287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55293" y="2650974"/>
            <a:ext cx="57329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Holding General Assembly Meetings remotely for the LLC company.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260764" y="3240773"/>
            <a:ext cx="85222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The Legal Quorum for the Assembly Meeting of the LLC Company 50% instead of 75% of the Capital Shares.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255293" y="4055091"/>
            <a:ext cx="70084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ossibility of an urgent Judgment from the Court to Save the LLC from Liquidation.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260763" y="4743596"/>
            <a:ext cx="85222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ossibility for any Increase in the Issued Capital of the Public Shareholding Company within 3 Years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228433" y="5426518"/>
            <a:ext cx="81145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Flexibility in Capital Reduction Requirements for the Public Joint-Stock Company.</a:t>
            </a:r>
          </a:p>
        </p:txBody>
      </p:sp>
      <p:sp>
        <p:nvSpPr>
          <p:cNvPr id="24" name="Shape 2617">
            <a:extLst>
              <a:ext uri="{FF2B5EF4-FFF2-40B4-BE49-F238E27FC236}">
                <a16:creationId xmlns:a16="http://schemas.microsoft.com/office/drawing/2014/main" id="{EFEFCCD2-E6F3-D442-ACBC-1B7F5788EB2A}"/>
              </a:ext>
            </a:extLst>
          </p:cNvPr>
          <p:cNvSpPr/>
          <p:nvPr/>
        </p:nvSpPr>
        <p:spPr>
          <a:xfrm>
            <a:off x="676865" y="2613983"/>
            <a:ext cx="397208" cy="3297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5" name="Shape 2696">
            <a:extLst>
              <a:ext uri="{FF2B5EF4-FFF2-40B4-BE49-F238E27FC236}">
                <a16:creationId xmlns:a16="http://schemas.microsoft.com/office/drawing/2014/main" id="{D91802CB-0CDF-E147-A4D0-ADAB5DD57EB0}"/>
              </a:ext>
            </a:extLst>
          </p:cNvPr>
          <p:cNvSpPr/>
          <p:nvPr/>
        </p:nvSpPr>
        <p:spPr>
          <a:xfrm>
            <a:off x="640935" y="3240773"/>
            <a:ext cx="479530" cy="455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764" y="19636"/>
                </a:moveTo>
                <a:cubicBezTo>
                  <a:pt x="12764" y="20178"/>
                  <a:pt x="12324" y="20618"/>
                  <a:pt x="11782" y="20618"/>
                </a:cubicBezTo>
                <a:lnTo>
                  <a:pt x="9818" y="20618"/>
                </a:lnTo>
                <a:cubicBezTo>
                  <a:pt x="9276" y="20618"/>
                  <a:pt x="8836" y="20178"/>
                  <a:pt x="8836" y="19636"/>
                </a:cubicBezTo>
                <a:lnTo>
                  <a:pt x="8836" y="17673"/>
                </a:lnTo>
                <a:cubicBezTo>
                  <a:pt x="8836" y="17131"/>
                  <a:pt x="9276" y="16691"/>
                  <a:pt x="9818" y="16691"/>
                </a:cubicBezTo>
                <a:lnTo>
                  <a:pt x="11782" y="16691"/>
                </a:lnTo>
                <a:cubicBezTo>
                  <a:pt x="12324" y="16691"/>
                  <a:pt x="12764" y="17131"/>
                  <a:pt x="12764" y="17673"/>
                </a:cubicBezTo>
                <a:cubicBezTo>
                  <a:pt x="12764" y="17673"/>
                  <a:pt x="12764" y="19636"/>
                  <a:pt x="12764" y="19636"/>
                </a:cubicBezTo>
                <a:close/>
                <a:moveTo>
                  <a:pt x="11782" y="15709"/>
                </a:moveTo>
                <a:lnTo>
                  <a:pt x="9818" y="15709"/>
                </a:lnTo>
                <a:cubicBezTo>
                  <a:pt x="8734" y="15709"/>
                  <a:pt x="7855" y="16588"/>
                  <a:pt x="7855" y="17673"/>
                </a:cubicBezTo>
                <a:lnTo>
                  <a:pt x="7855" y="19636"/>
                </a:lnTo>
                <a:cubicBezTo>
                  <a:pt x="7855" y="20721"/>
                  <a:pt x="8734" y="21600"/>
                  <a:pt x="9818" y="21600"/>
                </a:cubicBezTo>
                <a:lnTo>
                  <a:pt x="11782" y="21600"/>
                </a:lnTo>
                <a:cubicBezTo>
                  <a:pt x="12866" y="21600"/>
                  <a:pt x="13745" y="20721"/>
                  <a:pt x="13745" y="19636"/>
                </a:cubicBezTo>
                <a:lnTo>
                  <a:pt x="13745" y="17673"/>
                </a:lnTo>
                <a:cubicBezTo>
                  <a:pt x="13745" y="16588"/>
                  <a:pt x="12866" y="15709"/>
                  <a:pt x="11782" y="15709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7673" y="20618"/>
                </a:lnTo>
                <a:cubicBezTo>
                  <a:pt x="17131" y="20618"/>
                  <a:pt x="16691" y="20178"/>
                  <a:pt x="16691" y="19636"/>
                </a:cubicBezTo>
                <a:lnTo>
                  <a:pt x="16691" y="17673"/>
                </a:lnTo>
                <a:cubicBezTo>
                  <a:pt x="16691" y="17131"/>
                  <a:pt x="17131" y="16691"/>
                  <a:pt x="17673" y="16691"/>
                </a:cubicBezTo>
                <a:lnTo>
                  <a:pt x="19636" y="16691"/>
                </a:lnTo>
                <a:cubicBezTo>
                  <a:pt x="20178" y="16691"/>
                  <a:pt x="20618" y="17131"/>
                  <a:pt x="20618" y="17673"/>
                </a:cubicBezTo>
                <a:cubicBezTo>
                  <a:pt x="20618" y="17673"/>
                  <a:pt x="20618" y="19636"/>
                  <a:pt x="20618" y="19636"/>
                </a:cubicBezTo>
                <a:close/>
                <a:moveTo>
                  <a:pt x="19636" y="15709"/>
                </a:moveTo>
                <a:lnTo>
                  <a:pt x="17673" y="15709"/>
                </a:lnTo>
                <a:cubicBezTo>
                  <a:pt x="16588" y="15709"/>
                  <a:pt x="15709" y="16588"/>
                  <a:pt x="15709" y="17673"/>
                </a:cubicBezTo>
                <a:lnTo>
                  <a:pt x="15709" y="19636"/>
                </a:lnTo>
                <a:cubicBezTo>
                  <a:pt x="15709" y="20721"/>
                  <a:pt x="16588" y="21600"/>
                  <a:pt x="17673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7673"/>
                </a:lnTo>
                <a:cubicBezTo>
                  <a:pt x="21600" y="16588"/>
                  <a:pt x="20721" y="15709"/>
                  <a:pt x="19636" y="15709"/>
                </a:cubicBezTo>
                <a:moveTo>
                  <a:pt x="4909" y="19636"/>
                </a:moveTo>
                <a:cubicBezTo>
                  <a:pt x="4909" y="20178"/>
                  <a:pt x="4469" y="20618"/>
                  <a:pt x="3927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7673"/>
                </a:lnTo>
                <a:cubicBezTo>
                  <a:pt x="982" y="17131"/>
                  <a:pt x="1422" y="16691"/>
                  <a:pt x="1964" y="16691"/>
                </a:cubicBezTo>
                <a:lnTo>
                  <a:pt x="3927" y="16691"/>
                </a:lnTo>
                <a:cubicBezTo>
                  <a:pt x="4469" y="16691"/>
                  <a:pt x="4909" y="17131"/>
                  <a:pt x="4909" y="17673"/>
                </a:cubicBezTo>
                <a:cubicBezTo>
                  <a:pt x="4909" y="17673"/>
                  <a:pt x="4909" y="19636"/>
                  <a:pt x="4909" y="19636"/>
                </a:cubicBezTo>
                <a:close/>
                <a:moveTo>
                  <a:pt x="3927" y="15709"/>
                </a:moveTo>
                <a:lnTo>
                  <a:pt x="1964" y="15709"/>
                </a:lnTo>
                <a:cubicBezTo>
                  <a:pt x="879" y="15709"/>
                  <a:pt x="0" y="16588"/>
                  <a:pt x="0" y="17673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3927" y="21600"/>
                </a:lnTo>
                <a:cubicBezTo>
                  <a:pt x="5012" y="21600"/>
                  <a:pt x="5891" y="20721"/>
                  <a:pt x="5891" y="19636"/>
                </a:cubicBezTo>
                <a:lnTo>
                  <a:pt x="5891" y="17673"/>
                </a:lnTo>
                <a:cubicBezTo>
                  <a:pt x="5891" y="16588"/>
                  <a:pt x="5012" y="15709"/>
                  <a:pt x="3927" y="15709"/>
                </a:cubicBezTo>
                <a:moveTo>
                  <a:pt x="2945" y="14727"/>
                </a:moveTo>
                <a:cubicBezTo>
                  <a:pt x="3217" y="14727"/>
                  <a:pt x="3436" y="14507"/>
                  <a:pt x="3436" y="14236"/>
                </a:cubicBezTo>
                <a:lnTo>
                  <a:pt x="3436" y="10800"/>
                </a:lnTo>
                <a:lnTo>
                  <a:pt x="10309" y="10800"/>
                </a:lnTo>
                <a:lnTo>
                  <a:pt x="10309" y="14236"/>
                </a:lnTo>
                <a:cubicBezTo>
                  <a:pt x="10309" y="14507"/>
                  <a:pt x="10529" y="14727"/>
                  <a:pt x="10800" y="14727"/>
                </a:cubicBezTo>
                <a:cubicBezTo>
                  <a:pt x="11071" y="14727"/>
                  <a:pt x="11291" y="14507"/>
                  <a:pt x="11291" y="14236"/>
                </a:cubicBezTo>
                <a:lnTo>
                  <a:pt x="11291" y="10800"/>
                </a:lnTo>
                <a:lnTo>
                  <a:pt x="18164" y="10800"/>
                </a:lnTo>
                <a:lnTo>
                  <a:pt x="18164" y="14236"/>
                </a:lnTo>
                <a:cubicBezTo>
                  <a:pt x="18164" y="14507"/>
                  <a:pt x="18384" y="14727"/>
                  <a:pt x="18655" y="14727"/>
                </a:cubicBezTo>
                <a:cubicBezTo>
                  <a:pt x="18926" y="14727"/>
                  <a:pt x="19145" y="14507"/>
                  <a:pt x="19145" y="14236"/>
                </a:cubicBezTo>
                <a:lnTo>
                  <a:pt x="19145" y="10309"/>
                </a:lnTo>
                <a:cubicBezTo>
                  <a:pt x="19145" y="10038"/>
                  <a:pt x="18926" y="9818"/>
                  <a:pt x="18655" y="9818"/>
                </a:cubicBezTo>
                <a:lnTo>
                  <a:pt x="11291" y="9818"/>
                </a:lnTo>
                <a:lnTo>
                  <a:pt x="11291" y="7364"/>
                </a:lnTo>
                <a:cubicBezTo>
                  <a:pt x="11291" y="7093"/>
                  <a:pt x="11071" y="6873"/>
                  <a:pt x="10800" y="6873"/>
                </a:cubicBezTo>
                <a:cubicBezTo>
                  <a:pt x="10529" y="6873"/>
                  <a:pt x="10309" y="7093"/>
                  <a:pt x="10309" y="7364"/>
                </a:cubicBezTo>
                <a:lnTo>
                  <a:pt x="10309" y="9818"/>
                </a:lnTo>
                <a:lnTo>
                  <a:pt x="2945" y="9818"/>
                </a:lnTo>
                <a:cubicBezTo>
                  <a:pt x="2674" y="9818"/>
                  <a:pt x="2455" y="10038"/>
                  <a:pt x="2455" y="10309"/>
                </a:cubicBezTo>
                <a:lnTo>
                  <a:pt x="2455" y="14236"/>
                </a:lnTo>
                <a:cubicBezTo>
                  <a:pt x="2455" y="14507"/>
                  <a:pt x="2674" y="14727"/>
                  <a:pt x="2945" y="14727"/>
                </a:cubicBezTo>
                <a:moveTo>
                  <a:pt x="8836" y="1964"/>
                </a:moveTo>
                <a:cubicBezTo>
                  <a:pt x="8836" y="1422"/>
                  <a:pt x="9276" y="982"/>
                  <a:pt x="9818" y="982"/>
                </a:cubicBezTo>
                <a:lnTo>
                  <a:pt x="11782" y="982"/>
                </a:lnTo>
                <a:cubicBezTo>
                  <a:pt x="12324" y="982"/>
                  <a:pt x="12764" y="1422"/>
                  <a:pt x="12764" y="1964"/>
                </a:cubicBezTo>
                <a:lnTo>
                  <a:pt x="12764" y="3927"/>
                </a:lnTo>
                <a:cubicBezTo>
                  <a:pt x="12764" y="4469"/>
                  <a:pt x="12324" y="4909"/>
                  <a:pt x="11782" y="4909"/>
                </a:cubicBezTo>
                <a:lnTo>
                  <a:pt x="9818" y="4909"/>
                </a:lnTo>
                <a:cubicBezTo>
                  <a:pt x="9276" y="4909"/>
                  <a:pt x="8836" y="4469"/>
                  <a:pt x="8836" y="3927"/>
                </a:cubicBezTo>
                <a:cubicBezTo>
                  <a:pt x="8836" y="3927"/>
                  <a:pt x="8836" y="1964"/>
                  <a:pt x="8836" y="1964"/>
                </a:cubicBezTo>
                <a:close/>
                <a:moveTo>
                  <a:pt x="9818" y="5891"/>
                </a:moveTo>
                <a:lnTo>
                  <a:pt x="11782" y="5891"/>
                </a:lnTo>
                <a:cubicBezTo>
                  <a:pt x="12866" y="5891"/>
                  <a:pt x="13745" y="5012"/>
                  <a:pt x="13745" y="3927"/>
                </a:cubicBezTo>
                <a:lnTo>
                  <a:pt x="13745" y="1964"/>
                </a:lnTo>
                <a:cubicBezTo>
                  <a:pt x="13745" y="879"/>
                  <a:pt x="12866" y="0"/>
                  <a:pt x="11782" y="0"/>
                </a:cubicBezTo>
                <a:lnTo>
                  <a:pt x="9818" y="0"/>
                </a:lnTo>
                <a:cubicBezTo>
                  <a:pt x="8734" y="0"/>
                  <a:pt x="7855" y="879"/>
                  <a:pt x="7855" y="1964"/>
                </a:cubicBezTo>
                <a:lnTo>
                  <a:pt x="7855" y="3927"/>
                </a:lnTo>
                <a:cubicBezTo>
                  <a:pt x="7855" y="5012"/>
                  <a:pt x="8734" y="5891"/>
                  <a:pt x="9818" y="5891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6" name="Shape 2624">
            <a:extLst>
              <a:ext uri="{FF2B5EF4-FFF2-40B4-BE49-F238E27FC236}">
                <a16:creationId xmlns:a16="http://schemas.microsoft.com/office/drawing/2014/main" id="{2443CAA4-53B8-6A4D-8267-3C9B6BC03525}"/>
              </a:ext>
            </a:extLst>
          </p:cNvPr>
          <p:cNvSpPr/>
          <p:nvPr/>
        </p:nvSpPr>
        <p:spPr>
          <a:xfrm>
            <a:off x="714189" y="4020461"/>
            <a:ext cx="359884" cy="4132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7" name="Shape 2858">
            <a:extLst>
              <a:ext uri="{FF2B5EF4-FFF2-40B4-BE49-F238E27FC236}">
                <a16:creationId xmlns:a16="http://schemas.microsoft.com/office/drawing/2014/main" id="{6EF19B9A-6ED0-984F-AE0F-21E01B49E3DF}"/>
              </a:ext>
            </a:extLst>
          </p:cNvPr>
          <p:cNvSpPr/>
          <p:nvPr/>
        </p:nvSpPr>
        <p:spPr>
          <a:xfrm>
            <a:off x="680937" y="4713213"/>
            <a:ext cx="260341" cy="3993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8" name="Shape 2858">
            <a:extLst>
              <a:ext uri="{FF2B5EF4-FFF2-40B4-BE49-F238E27FC236}">
                <a16:creationId xmlns:a16="http://schemas.microsoft.com/office/drawing/2014/main" id="{6EF19B9A-6ED0-984F-AE0F-21E01B49E3DF}"/>
              </a:ext>
            </a:extLst>
          </p:cNvPr>
          <p:cNvSpPr/>
          <p:nvPr/>
        </p:nvSpPr>
        <p:spPr>
          <a:xfrm>
            <a:off x="979077" y="4864572"/>
            <a:ext cx="220338" cy="2469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4909"/>
                </a:moveTo>
                <a:cubicBezTo>
                  <a:pt x="5498" y="4909"/>
                  <a:pt x="1200" y="4030"/>
                  <a:pt x="1200" y="2945"/>
                </a:cubicBezTo>
                <a:cubicBezTo>
                  <a:pt x="1200" y="1861"/>
                  <a:pt x="5498" y="982"/>
                  <a:pt x="10800" y="982"/>
                </a:cubicBezTo>
                <a:cubicBezTo>
                  <a:pt x="16102" y="982"/>
                  <a:pt x="20400" y="1861"/>
                  <a:pt x="20400" y="2945"/>
                </a:cubicBezTo>
                <a:cubicBezTo>
                  <a:pt x="20400" y="4030"/>
                  <a:pt x="16102" y="4909"/>
                  <a:pt x="10800" y="4909"/>
                </a:cubicBezTo>
                <a:moveTo>
                  <a:pt x="20400" y="6873"/>
                </a:moveTo>
                <a:cubicBezTo>
                  <a:pt x="20400" y="7957"/>
                  <a:pt x="16102" y="8836"/>
                  <a:pt x="10800" y="8836"/>
                </a:cubicBezTo>
                <a:cubicBezTo>
                  <a:pt x="5498" y="8836"/>
                  <a:pt x="1200" y="7957"/>
                  <a:pt x="1200" y="6873"/>
                </a:cubicBezTo>
                <a:lnTo>
                  <a:pt x="1200" y="4291"/>
                </a:lnTo>
                <a:cubicBezTo>
                  <a:pt x="2993" y="5240"/>
                  <a:pt x="6615" y="5891"/>
                  <a:pt x="10800" y="5891"/>
                </a:cubicBezTo>
                <a:cubicBezTo>
                  <a:pt x="14986" y="5891"/>
                  <a:pt x="18607" y="5240"/>
                  <a:pt x="20400" y="4291"/>
                </a:cubicBezTo>
                <a:cubicBezTo>
                  <a:pt x="20400" y="4291"/>
                  <a:pt x="20400" y="6873"/>
                  <a:pt x="20400" y="6873"/>
                </a:cubicBezTo>
                <a:close/>
                <a:moveTo>
                  <a:pt x="10800" y="10800"/>
                </a:moveTo>
                <a:cubicBezTo>
                  <a:pt x="5498" y="10800"/>
                  <a:pt x="1200" y="9921"/>
                  <a:pt x="1200" y="8836"/>
                </a:cubicBezTo>
                <a:cubicBezTo>
                  <a:pt x="1200" y="8672"/>
                  <a:pt x="1309" y="8514"/>
                  <a:pt x="1494" y="8362"/>
                </a:cubicBezTo>
                <a:cubicBezTo>
                  <a:pt x="3370" y="9232"/>
                  <a:pt x="6830" y="9818"/>
                  <a:pt x="10800" y="9818"/>
                </a:cubicBezTo>
                <a:cubicBezTo>
                  <a:pt x="14770" y="9818"/>
                  <a:pt x="18230" y="9232"/>
                  <a:pt x="20106" y="8362"/>
                </a:cubicBezTo>
                <a:cubicBezTo>
                  <a:pt x="20291" y="8514"/>
                  <a:pt x="20400" y="8672"/>
                  <a:pt x="20400" y="8836"/>
                </a:cubicBezTo>
                <a:cubicBezTo>
                  <a:pt x="20400" y="9921"/>
                  <a:pt x="16102" y="10800"/>
                  <a:pt x="10800" y="10800"/>
                </a:cubicBezTo>
                <a:moveTo>
                  <a:pt x="20400" y="12764"/>
                </a:moveTo>
                <a:cubicBezTo>
                  <a:pt x="20400" y="13848"/>
                  <a:pt x="16102" y="14727"/>
                  <a:pt x="10800" y="14727"/>
                </a:cubicBezTo>
                <a:cubicBezTo>
                  <a:pt x="5498" y="14727"/>
                  <a:pt x="1200" y="13848"/>
                  <a:pt x="1200" y="12764"/>
                </a:cubicBezTo>
                <a:lnTo>
                  <a:pt x="1200" y="10182"/>
                </a:lnTo>
                <a:cubicBezTo>
                  <a:pt x="2993" y="11131"/>
                  <a:pt x="6615" y="11782"/>
                  <a:pt x="10800" y="11782"/>
                </a:cubicBezTo>
                <a:cubicBezTo>
                  <a:pt x="14986" y="11782"/>
                  <a:pt x="18607" y="11131"/>
                  <a:pt x="20400" y="10182"/>
                </a:cubicBezTo>
                <a:cubicBezTo>
                  <a:pt x="20400" y="10182"/>
                  <a:pt x="20400" y="12764"/>
                  <a:pt x="20400" y="12764"/>
                </a:cubicBezTo>
                <a:close/>
                <a:moveTo>
                  <a:pt x="10800" y="16691"/>
                </a:moveTo>
                <a:cubicBezTo>
                  <a:pt x="5498" y="16691"/>
                  <a:pt x="1200" y="15812"/>
                  <a:pt x="1200" y="14727"/>
                </a:cubicBezTo>
                <a:cubicBezTo>
                  <a:pt x="1200" y="14563"/>
                  <a:pt x="1309" y="14405"/>
                  <a:pt x="1494" y="14253"/>
                </a:cubicBezTo>
                <a:cubicBezTo>
                  <a:pt x="3370" y="15123"/>
                  <a:pt x="6830" y="15709"/>
                  <a:pt x="10800" y="15709"/>
                </a:cubicBezTo>
                <a:cubicBezTo>
                  <a:pt x="14770" y="15709"/>
                  <a:pt x="18230" y="15123"/>
                  <a:pt x="20106" y="14253"/>
                </a:cubicBezTo>
                <a:cubicBezTo>
                  <a:pt x="20291" y="14405"/>
                  <a:pt x="20400" y="14563"/>
                  <a:pt x="20400" y="14727"/>
                </a:cubicBezTo>
                <a:cubicBezTo>
                  <a:pt x="20400" y="15812"/>
                  <a:pt x="16102" y="16691"/>
                  <a:pt x="10800" y="16691"/>
                </a:cubicBezTo>
                <a:moveTo>
                  <a:pt x="20400" y="18655"/>
                </a:moveTo>
                <a:cubicBezTo>
                  <a:pt x="20400" y="19739"/>
                  <a:pt x="16102" y="20618"/>
                  <a:pt x="10800" y="20618"/>
                </a:cubicBezTo>
                <a:cubicBezTo>
                  <a:pt x="5498" y="20618"/>
                  <a:pt x="1200" y="19739"/>
                  <a:pt x="1200" y="18655"/>
                </a:cubicBezTo>
                <a:lnTo>
                  <a:pt x="1200" y="16073"/>
                </a:lnTo>
                <a:cubicBezTo>
                  <a:pt x="2993" y="17022"/>
                  <a:pt x="6615" y="17673"/>
                  <a:pt x="10800" y="17673"/>
                </a:cubicBezTo>
                <a:cubicBezTo>
                  <a:pt x="14986" y="17673"/>
                  <a:pt x="18607" y="17022"/>
                  <a:pt x="20400" y="16073"/>
                </a:cubicBezTo>
                <a:cubicBezTo>
                  <a:pt x="20400" y="16073"/>
                  <a:pt x="20400" y="18655"/>
                  <a:pt x="20400" y="18655"/>
                </a:cubicBezTo>
                <a:close/>
                <a:moveTo>
                  <a:pt x="21600" y="2945"/>
                </a:moveTo>
                <a:cubicBezTo>
                  <a:pt x="21600" y="1319"/>
                  <a:pt x="16765" y="0"/>
                  <a:pt x="10800" y="0"/>
                </a:cubicBezTo>
                <a:cubicBezTo>
                  <a:pt x="4835" y="0"/>
                  <a:pt x="0" y="1319"/>
                  <a:pt x="0" y="2945"/>
                </a:cubicBezTo>
                <a:lnTo>
                  <a:pt x="0" y="6873"/>
                </a:lnTo>
                <a:cubicBezTo>
                  <a:pt x="0" y="7218"/>
                  <a:pt x="229" y="7547"/>
                  <a:pt x="628" y="7855"/>
                </a:cubicBezTo>
                <a:cubicBezTo>
                  <a:pt x="229" y="8162"/>
                  <a:pt x="0" y="8492"/>
                  <a:pt x="0" y="8836"/>
                </a:cubicBezTo>
                <a:lnTo>
                  <a:pt x="0" y="12764"/>
                </a:lnTo>
                <a:cubicBezTo>
                  <a:pt x="0" y="13109"/>
                  <a:pt x="229" y="13438"/>
                  <a:pt x="628" y="13745"/>
                </a:cubicBezTo>
                <a:cubicBezTo>
                  <a:pt x="229" y="14053"/>
                  <a:pt x="0" y="14383"/>
                  <a:pt x="0" y="14727"/>
                </a:cubicBezTo>
                <a:lnTo>
                  <a:pt x="0" y="18655"/>
                </a:lnTo>
                <a:cubicBezTo>
                  <a:pt x="0" y="20281"/>
                  <a:pt x="4835" y="21600"/>
                  <a:pt x="10800" y="21600"/>
                </a:cubicBezTo>
                <a:cubicBezTo>
                  <a:pt x="16765" y="21600"/>
                  <a:pt x="21600" y="20281"/>
                  <a:pt x="21600" y="18655"/>
                </a:cubicBezTo>
                <a:lnTo>
                  <a:pt x="21600" y="14727"/>
                </a:lnTo>
                <a:cubicBezTo>
                  <a:pt x="21600" y="14383"/>
                  <a:pt x="21371" y="14053"/>
                  <a:pt x="20972" y="13745"/>
                </a:cubicBezTo>
                <a:cubicBezTo>
                  <a:pt x="21371" y="13438"/>
                  <a:pt x="21600" y="13109"/>
                  <a:pt x="21600" y="12764"/>
                </a:cubicBezTo>
                <a:lnTo>
                  <a:pt x="21600" y="8836"/>
                </a:lnTo>
                <a:cubicBezTo>
                  <a:pt x="21600" y="8492"/>
                  <a:pt x="21371" y="8162"/>
                  <a:pt x="20972" y="7855"/>
                </a:cubicBezTo>
                <a:cubicBezTo>
                  <a:pt x="21371" y="7547"/>
                  <a:pt x="21600" y="7218"/>
                  <a:pt x="21600" y="6873"/>
                </a:cubicBezTo>
                <a:cubicBezTo>
                  <a:pt x="21600" y="6873"/>
                  <a:pt x="21600" y="2945"/>
                  <a:pt x="21600" y="2945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9" name="Shape 2927">
            <a:extLst>
              <a:ext uri="{FF2B5EF4-FFF2-40B4-BE49-F238E27FC236}">
                <a16:creationId xmlns:a16="http://schemas.microsoft.com/office/drawing/2014/main" id="{A2DF5F44-99FF-9D43-805B-EE5D8B579EA0}"/>
              </a:ext>
            </a:extLst>
          </p:cNvPr>
          <p:cNvSpPr/>
          <p:nvPr/>
        </p:nvSpPr>
        <p:spPr>
          <a:xfrm>
            <a:off x="853167" y="5480264"/>
            <a:ext cx="277956" cy="2779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164" y="5891"/>
                </a:moveTo>
                <a:cubicBezTo>
                  <a:pt x="17893" y="5891"/>
                  <a:pt x="17673" y="6111"/>
                  <a:pt x="17673" y="6382"/>
                </a:cubicBezTo>
                <a:lnTo>
                  <a:pt x="17673" y="6873"/>
                </a:lnTo>
                <a:cubicBezTo>
                  <a:pt x="17536" y="9012"/>
                  <a:pt x="16407" y="16791"/>
                  <a:pt x="7448" y="19651"/>
                </a:cubicBezTo>
                <a:cubicBezTo>
                  <a:pt x="12844" y="16010"/>
                  <a:pt x="13635" y="8876"/>
                  <a:pt x="13745" y="6873"/>
                </a:cubicBezTo>
                <a:lnTo>
                  <a:pt x="13745" y="6382"/>
                </a:lnTo>
                <a:cubicBezTo>
                  <a:pt x="13745" y="6111"/>
                  <a:pt x="13525" y="5891"/>
                  <a:pt x="13255" y="5891"/>
                </a:cubicBezTo>
                <a:lnTo>
                  <a:pt x="11424" y="5891"/>
                </a:lnTo>
                <a:lnTo>
                  <a:pt x="15709" y="1217"/>
                </a:lnTo>
                <a:lnTo>
                  <a:pt x="19994" y="5891"/>
                </a:lnTo>
                <a:cubicBezTo>
                  <a:pt x="19994" y="5891"/>
                  <a:pt x="18164" y="5891"/>
                  <a:pt x="18164" y="5891"/>
                </a:cubicBezTo>
                <a:close/>
                <a:moveTo>
                  <a:pt x="21456" y="6035"/>
                </a:moveTo>
                <a:lnTo>
                  <a:pt x="16056" y="144"/>
                </a:lnTo>
                <a:cubicBezTo>
                  <a:pt x="15967" y="55"/>
                  <a:pt x="15845" y="0"/>
                  <a:pt x="15709" y="0"/>
                </a:cubicBezTo>
                <a:cubicBezTo>
                  <a:pt x="15573" y="0"/>
                  <a:pt x="15450" y="55"/>
                  <a:pt x="15362" y="144"/>
                </a:cubicBezTo>
                <a:lnTo>
                  <a:pt x="9962" y="6035"/>
                </a:lnTo>
                <a:cubicBezTo>
                  <a:pt x="9873" y="6124"/>
                  <a:pt x="9818" y="6247"/>
                  <a:pt x="9818" y="6382"/>
                </a:cubicBezTo>
                <a:cubicBezTo>
                  <a:pt x="9818" y="6653"/>
                  <a:pt x="10038" y="6873"/>
                  <a:pt x="10309" y="6873"/>
                </a:cubicBezTo>
                <a:lnTo>
                  <a:pt x="12715" y="6873"/>
                </a:lnTo>
                <a:cubicBezTo>
                  <a:pt x="12657" y="7916"/>
                  <a:pt x="12394" y="10507"/>
                  <a:pt x="11196" y="13351"/>
                </a:cubicBezTo>
                <a:cubicBezTo>
                  <a:pt x="9160" y="18184"/>
                  <a:pt x="5558" y="20618"/>
                  <a:pt x="491" y="20618"/>
                </a:cubicBezTo>
                <a:cubicBezTo>
                  <a:pt x="219" y="20618"/>
                  <a:pt x="0" y="20838"/>
                  <a:pt x="0" y="21109"/>
                </a:cubicBezTo>
                <a:cubicBezTo>
                  <a:pt x="0" y="21380"/>
                  <a:pt x="219" y="21600"/>
                  <a:pt x="491" y="21600"/>
                </a:cubicBezTo>
                <a:cubicBezTo>
                  <a:pt x="16610" y="21600"/>
                  <a:pt x="18450" y="9470"/>
                  <a:pt x="18658" y="6873"/>
                </a:cubicBezTo>
                <a:lnTo>
                  <a:pt x="21109" y="6873"/>
                </a:lnTo>
                <a:cubicBezTo>
                  <a:pt x="21380" y="6873"/>
                  <a:pt x="21600" y="6653"/>
                  <a:pt x="21600" y="6382"/>
                </a:cubicBezTo>
                <a:cubicBezTo>
                  <a:pt x="21600" y="6247"/>
                  <a:pt x="21545" y="6124"/>
                  <a:pt x="21456" y="6035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algn="just"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30" name="Shape 2926">
            <a:extLst>
              <a:ext uri="{FF2B5EF4-FFF2-40B4-BE49-F238E27FC236}">
                <a16:creationId xmlns:a16="http://schemas.microsoft.com/office/drawing/2014/main" id="{0F11A80E-1429-E945-A409-96A2508D08DF}"/>
              </a:ext>
            </a:extLst>
          </p:cNvPr>
          <p:cNvSpPr/>
          <p:nvPr/>
        </p:nvSpPr>
        <p:spPr>
          <a:xfrm>
            <a:off x="575211" y="5496108"/>
            <a:ext cx="277956" cy="2779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0383"/>
                </a:moveTo>
                <a:lnTo>
                  <a:pt x="11424" y="15709"/>
                </a:lnTo>
                <a:lnTo>
                  <a:pt x="13255" y="15709"/>
                </a:lnTo>
                <a:cubicBezTo>
                  <a:pt x="13525" y="15709"/>
                  <a:pt x="13745" y="15490"/>
                  <a:pt x="13745" y="15218"/>
                </a:cubicBezTo>
                <a:lnTo>
                  <a:pt x="13745" y="14727"/>
                </a:lnTo>
                <a:cubicBezTo>
                  <a:pt x="13635" y="12724"/>
                  <a:pt x="12844" y="5590"/>
                  <a:pt x="7448" y="1949"/>
                </a:cubicBezTo>
                <a:cubicBezTo>
                  <a:pt x="16407" y="4809"/>
                  <a:pt x="17536" y="12588"/>
                  <a:pt x="17673" y="14727"/>
                </a:cubicBezTo>
                <a:lnTo>
                  <a:pt x="17673" y="15218"/>
                </a:lnTo>
                <a:cubicBezTo>
                  <a:pt x="17673" y="15490"/>
                  <a:pt x="17893" y="15709"/>
                  <a:pt x="18164" y="15709"/>
                </a:cubicBezTo>
                <a:lnTo>
                  <a:pt x="19994" y="15709"/>
                </a:lnTo>
                <a:cubicBezTo>
                  <a:pt x="19994" y="15709"/>
                  <a:pt x="15709" y="20383"/>
                  <a:pt x="15709" y="20383"/>
                </a:cubicBezTo>
                <a:close/>
                <a:moveTo>
                  <a:pt x="21109" y="14727"/>
                </a:moveTo>
                <a:lnTo>
                  <a:pt x="18658" y="14727"/>
                </a:lnTo>
                <a:cubicBezTo>
                  <a:pt x="18450" y="12130"/>
                  <a:pt x="16610" y="0"/>
                  <a:pt x="491" y="0"/>
                </a:cubicBezTo>
                <a:cubicBezTo>
                  <a:pt x="219" y="0"/>
                  <a:pt x="0" y="220"/>
                  <a:pt x="0" y="491"/>
                </a:cubicBezTo>
                <a:cubicBezTo>
                  <a:pt x="0" y="762"/>
                  <a:pt x="219" y="982"/>
                  <a:pt x="491" y="982"/>
                </a:cubicBezTo>
                <a:cubicBezTo>
                  <a:pt x="5558" y="982"/>
                  <a:pt x="9160" y="3417"/>
                  <a:pt x="11196" y="8250"/>
                </a:cubicBezTo>
                <a:cubicBezTo>
                  <a:pt x="12394" y="11093"/>
                  <a:pt x="12657" y="13684"/>
                  <a:pt x="12715" y="14727"/>
                </a:cubicBezTo>
                <a:lnTo>
                  <a:pt x="10309" y="14727"/>
                </a:lnTo>
                <a:cubicBezTo>
                  <a:pt x="10038" y="14727"/>
                  <a:pt x="9818" y="14947"/>
                  <a:pt x="9818" y="15218"/>
                </a:cubicBezTo>
                <a:cubicBezTo>
                  <a:pt x="9818" y="15354"/>
                  <a:pt x="9873" y="15477"/>
                  <a:pt x="9962" y="15566"/>
                </a:cubicBezTo>
                <a:lnTo>
                  <a:pt x="15362" y="21456"/>
                </a:lnTo>
                <a:cubicBezTo>
                  <a:pt x="15450" y="21545"/>
                  <a:pt x="15574" y="21600"/>
                  <a:pt x="15709" y="21600"/>
                </a:cubicBezTo>
                <a:cubicBezTo>
                  <a:pt x="15845" y="21600"/>
                  <a:pt x="15967" y="21545"/>
                  <a:pt x="16056" y="21456"/>
                </a:cubicBezTo>
                <a:lnTo>
                  <a:pt x="21456" y="15566"/>
                </a:lnTo>
                <a:cubicBezTo>
                  <a:pt x="21545" y="15477"/>
                  <a:pt x="21600" y="15354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36793972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Environm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32971" y="1632983"/>
            <a:ext cx="111233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defRPr>
            </a:lvl1pPr>
          </a:lstStyle>
          <a:p>
            <a:r>
              <a:rPr lang="en-US" dirty="0"/>
              <a:t>The Prominent Features and Incentives Granted to Foreign Investors on the Amendments of the UAE Federal Law No. (2) Of 2015 on Commercial Companie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25714" y="2504483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526716" y="3197149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532969" y="391133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532969" y="4597105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532968" y="528287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55293" y="2650974"/>
            <a:ext cx="79998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Controlling the entire Membership of the Boards of Directors of Public Joint-Stock Companies.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255293" y="3338270"/>
            <a:ext cx="89188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llow all Members of the Board of Directors of the Public Shareholding Company to be Non-Shareholders.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228432" y="3934715"/>
            <a:ext cx="96452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bsence of Requirement the Approval of the Securities and Commodities Authority to Amend the Memorandum of Association or Articles of Association of the Public Shareholding Company.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255293" y="4714653"/>
            <a:ext cx="85222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llowing Financial Institutions to Provide Loans to Board Members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228432" y="5341567"/>
            <a:ext cx="95460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ossibility of Calling a General Assembly Meeting if requested by partners holding 10% of the Public Joint-Stock Company.</a:t>
            </a:r>
          </a:p>
        </p:txBody>
      </p:sp>
      <p:sp>
        <p:nvSpPr>
          <p:cNvPr id="21" name="Shape 2530">
            <a:extLst>
              <a:ext uri="{FF2B5EF4-FFF2-40B4-BE49-F238E27FC236}">
                <a16:creationId xmlns:a16="http://schemas.microsoft.com/office/drawing/2014/main" id="{3C150FFE-4E0F-6247-8E87-CED24E21357A}"/>
              </a:ext>
            </a:extLst>
          </p:cNvPr>
          <p:cNvSpPr/>
          <p:nvPr/>
        </p:nvSpPr>
        <p:spPr>
          <a:xfrm>
            <a:off x="714189" y="2674255"/>
            <a:ext cx="253871" cy="3133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2" name="Shape 2540">
            <a:extLst>
              <a:ext uri="{FF2B5EF4-FFF2-40B4-BE49-F238E27FC236}">
                <a16:creationId xmlns:a16="http://schemas.microsoft.com/office/drawing/2014/main" id="{2B6DFC0C-3633-8F42-A432-D98F488805EA}"/>
              </a:ext>
            </a:extLst>
          </p:cNvPr>
          <p:cNvSpPr/>
          <p:nvPr/>
        </p:nvSpPr>
        <p:spPr>
          <a:xfrm>
            <a:off x="696241" y="3349252"/>
            <a:ext cx="354410" cy="3165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3" name="Shape 2581">
            <a:extLst>
              <a:ext uri="{FF2B5EF4-FFF2-40B4-BE49-F238E27FC236}">
                <a16:creationId xmlns:a16="http://schemas.microsoft.com/office/drawing/2014/main" id="{829D44AB-A90B-FF4E-8A75-951C28468FB8}"/>
              </a:ext>
            </a:extLst>
          </p:cNvPr>
          <p:cNvSpPr/>
          <p:nvPr/>
        </p:nvSpPr>
        <p:spPr>
          <a:xfrm>
            <a:off x="714189" y="4042154"/>
            <a:ext cx="336462" cy="3636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33" y="11950"/>
                </a:moveTo>
                <a:lnTo>
                  <a:pt x="12831" y="14044"/>
                </a:lnTo>
                <a:lnTo>
                  <a:pt x="11135" y="12801"/>
                </a:lnTo>
                <a:lnTo>
                  <a:pt x="10555" y="12375"/>
                </a:lnTo>
                <a:lnTo>
                  <a:pt x="9974" y="12801"/>
                </a:lnTo>
                <a:lnTo>
                  <a:pt x="8277" y="14044"/>
                </a:lnTo>
                <a:lnTo>
                  <a:pt x="8976" y="11950"/>
                </a:lnTo>
                <a:lnTo>
                  <a:pt x="9195" y="11291"/>
                </a:lnTo>
                <a:lnTo>
                  <a:pt x="8647" y="10864"/>
                </a:lnTo>
                <a:lnTo>
                  <a:pt x="7280" y="9801"/>
                </a:lnTo>
                <a:lnTo>
                  <a:pt x="9560" y="9801"/>
                </a:lnTo>
                <a:lnTo>
                  <a:pt x="9799" y="9167"/>
                </a:lnTo>
                <a:lnTo>
                  <a:pt x="10555" y="7167"/>
                </a:lnTo>
                <a:lnTo>
                  <a:pt x="11310" y="9167"/>
                </a:lnTo>
                <a:lnTo>
                  <a:pt x="11549" y="9801"/>
                </a:lnTo>
                <a:lnTo>
                  <a:pt x="13829" y="9801"/>
                </a:lnTo>
                <a:lnTo>
                  <a:pt x="12462" y="10864"/>
                </a:lnTo>
                <a:lnTo>
                  <a:pt x="11914" y="11291"/>
                </a:lnTo>
                <a:cubicBezTo>
                  <a:pt x="11914" y="11291"/>
                  <a:pt x="12133" y="11950"/>
                  <a:pt x="12133" y="11950"/>
                </a:cubicBezTo>
                <a:close/>
                <a:moveTo>
                  <a:pt x="12228" y="8820"/>
                </a:moveTo>
                <a:lnTo>
                  <a:pt x="10555" y="4388"/>
                </a:lnTo>
                <a:lnTo>
                  <a:pt x="8881" y="8820"/>
                </a:lnTo>
                <a:lnTo>
                  <a:pt x="4418" y="8820"/>
                </a:lnTo>
                <a:lnTo>
                  <a:pt x="8044" y="11639"/>
                </a:lnTo>
                <a:lnTo>
                  <a:pt x="6371" y="16660"/>
                </a:lnTo>
                <a:lnTo>
                  <a:pt x="10555" y="13592"/>
                </a:lnTo>
                <a:lnTo>
                  <a:pt x="14738" y="16660"/>
                </a:lnTo>
                <a:lnTo>
                  <a:pt x="13065" y="11639"/>
                </a:lnTo>
                <a:lnTo>
                  <a:pt x="16691" y="8820"/>
                </a:lnTo>
                <a:cubicBezTo>
                  <a:pt x="16691" y="8820"/>
                  <a:pt x="12228" y="8820"/>
                  <a:pt x="12228" y="8820"/>
                </a:cubicBezTo>
                <a:close/>
                <a:moveTo>
                  <a:pt x="10800" y="20618"/>
                </a:move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31" name="Shape 2799">
            <a:extLst>
              <a:ext uri="{FF2B5EF4-FFF2-40B4-BE49-F238E27FC236}">
                <a16:creationId xmlns:a16="http://schemas.microsoft.com/office/drawing/2014/main" id="{AE320277-4FBC-664A-8223-22A158CDB569}"/>
              </a:ext>
            </a:extLst>
          </p:cNvPr>
          <p:cNvSpPr/>
          <p:nvPr/>
        </p:nvSpPr>
        <p:spPr>
          <a:xfrm>
            <a:off x="697975" y="4790096"/>
            <a:ext cx="365449" cy="2574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916" y="11782"/>
                </a:moveTo>
                <a:cubicBezTo>
                  <a:pt x="9916" y="11929"/>
                  <a:pt x="9939" y="12054"/>
                  <a:pt x="9982" y="12159"/>
                </a:cubicBezTo>
                <a:cubicBezTo>
                  <a:pt x="10026" y="12263"/>
                  <a:pt x="10082" y="12351"/>
                  <a:pt x="10151" y="12425"/>
                </a:cubicBezTo>
                <a:cubicBezTo>
                  <a:pt x="10219" y="12498"/>
                  <a:pt x="10298" y="12557"/>
                  <a:pt x="10388" y="12604"/>
                </a:cubicBezTo>
                <a:cubicBezTo>
                  <a:pt x="10478" y="12650"/>
                  <a:pt x="10513" y="12688"/>
                  <a:pt x="10605" y="12719"/>
                </a:cubicBezTo>
                <a:lnTo>
                  <a:pt x="10605" y="10882"/>
                </a:lnTo>
                <a:cubicBezTo>
                  <a:pt x="10368" y="10882"/>
                  <a:pt x="10241" y="10952"/>
                  <a:pt x="10111" y="11090"/>
                </a:cubicBezTo>
                <a:cubicBezTo>
                  <a:pt x="9981" y="11227"/>
                  <a:pt x="9916" y="11458"/>
                  <a:pt x="9916" y="11782"/>
                </a:cubicBezTo>
                <a:moveTo>
                  <a:pt x="11501" y="14278"/>
                </a:moveTo>
                <a:cubicBezTo>
                  <a:pt x="11425" y="14199"/>
                  <a:pt x="11338" y="14135"/>
                  <a:pt x="11242" y="14086"/>
                </a:cubicBezTo>
                <a:cubicBezTo>
                  <a:pt x="11145" y="14037"/>
                  <a:pt x="11102" y="13994"/>
                  <a:pt x="11001" y="13958"/>
                </a:cubicBezTo>
                <a:lnTo>
                  <a:pt x="11001" y="16096"/>
                </a:lnTo>
                <a:cubicBezTo>
                  <a:pt x="11238" y="16071"/>
                  <a:pt x="11377" y="15975"/>
                  <a:pt x="11528" y="15806"/>
                </a:cubicBezTo>
                <a:cubicBezTo>
                  <a:pt x="11680" y="15638"/>
                  <a:pt x="11756" y="15371"/>
                  <a:pt x="11756" y="15004"/>
                </a:cubicBezTo>
                <a:cubicBezTo>
                  <a:pt x="11756" y="14833"/>
                  <a:pt x="11733" y="14689"/>
                  <a:pt x="11686" y="14572"/>
                </a:cubicBezTo>
                <a:cubicBezTo>
                  <a:pt x="11640" y="14456"/>
                  <a:pt x="11579" y="14358"/>
                  <a:pt x="11501" y="14278"/>
                </a:cubicBezTo>
                <a:moveTo>
                  <a:pt x="12385" y="15751"/>
                </a:moveTo>
                <a:cubicBezTo>
                  <a:pt x="12304" y="16006"/>
                  <a:pt x="12193" y="16216"/>
                  <a:pt x="12052" y="16385"/>
                </a:cubicBezTo>
                <a:cubicBezTo>
                  <a:pt x="11911" y="16553"/>
                  <a:pt x="11747" y="16681"/>
                  <a:pt x="11558" y="16770"/>
                </a:cubicBezTo>
                <a:cubicBezTo>
                  <a:pt x="11369" y="16859"/>
                  <a:pt x="11221" y="16910"/>
                  <a:pt x="11001" y="16922"/>
                </a:cubicBezTo>
                <a:lnTo>
                  <a:pt x="11001" y="17549"/>
                </a:lnTo>
                <a:lnTo>
                  <a:pt x="10605" y="17549"/>
                </a:lnTo>
                <a:lnTo>
                  <a:pt x="10605" y="16922"/>
                </a:lnTo>
                <a:cubicBezTo>
                  <a:pt x="10368" y="16915"/>
                  <a:pt x="10206" y="16863"/>
                  <a:pt x="10009" y="16766"/>
                </a:cubicBezTo>
                <a:cubicBezTo>
                  <a:pt x="9811" y="16667"/>
                  <a:pt x="9642" y="16528"/>
                  <a:pt x="9501" y="16348"/>
                </a:cubicBezTo>
                <a:cubicBezTo>
                  <a:pt x="9361" y="16168"/>
                  <a:pt x="9252" y="15946"/>
                  <a:pt x="9175" y="15683"/>
                </a:cubicBezTo>
                <a:cubicBezTo>
                  <a:pt x="9098" y="15420"/>
                  <a:pt x="9062" y="15117"/>
                  <a:pt x="9066" y="14775"/>
                </a:cubicBezTo>
                <a:lnTo>
                  <a:pt x="9818" y="14775"/>
                </a:lnTo>
                <a:cubicBezTo>
                  <a:pt x="9813" y="15178"/>
                  <a:pt x="9877" y="15496"/>
                  <a:pt x="10009" y="15729"/>
                </a:cubicBezTo>
                <a:cubicBezTo>
                  <a:pt x="10140" y="15961"/>
                  <a:pt x="10302" y="16083"/>
                  <a:pt x="10605" y="16096"/>
                </a:cubicBezTo>
                <a:lnTo>
                  <a:pt x="10605" y="13875"/>
                </a:lnTo>
                <a:cubicBezTo>
                  <a:pt x="10425" y="13807"/>
                  <a:pt x="10302" y="13726"/>
                  <a:pt x="10124" y="13631"/>
                </a:cubicBezTo>
                <a:cubicBezTo>
                  <a:pt x="9946" y="13537"/>
                  <a:pt x="9786" y="13414"/>
                  <a:pt x="9643" y="13264"/>
                </a:cubicBezTo>
                <a:cubicBezTo>
                  <a:pt x="9500" y="13115"/>
                  <a:pt x="9385" y="12927"/>
                  <a:pt x="9297" y="12700"/>
                </a:cubicBezTo>
                <a:cubicBezTo>
                  <a:pt x="9209" y="12474"/>
                  <a:pt x="9165" y="12192"/>
                  <a:pt x="9165" y="11855"/>
                </a:cubicBezTo>
                <a:cubicBezTo>
                  <a:pt x="9165" y="11562"/>
                  <a:pt x="9206" y="11304"/>
                  <a:pt x="9287" y="11080"/>
                </a:cubicBezTo>
                <a:cubicBezTo>
                  <a:pt x="9369" y="10857"/>
                  <a:pt x="9478" y="10670"/>
                  <a:pt x="9617" y="10520"/>
                </a:cubicBezTo>
                <a:cubicBezTo>
                  <a:pt x="9755" y="10370"/>
                  <a:pt x="9914" y="10256"/>
                  <a:pt x="10094" y="10176"/>
                </a:cubicBezTo>
                <a:cubicBezTo>
                  <a:pt x="10274" y="10097"/>
                  <a:pt x="10407" y="10057"/>
                  <a:pt x="10605" y="10057"/>
                </a:cubicBezTo>
                <a:lnTo>
                  <a:pt x="10605" y="9455"/>
                </a:lnTo>
                <a:lnTo>
                  <a:pt x="11001" y="9455"/>
                </a:lnTo>
                <a:lnTo>
                  <a:pt x="11001" y="10057"/>
                </a:lnTo>
                <a:cubicBezTo>
                  <a:pt x="11199" y="10057"/>
                  <a:pt x="11329" y="10093"/>
                  <a:pt x="11505" y="10167"/>
                </a:cubicBezTo>
                <a:cubicBezTo>
                  <a:pt x="11681" y="10240"/>
                  <a:pt x="11834" y="10350"/>
                  <a:pt x="11963" y="10498"/>
                </a:cubicBezTo>
                <a:cubicBezTo>
                  <a:pt x="12093" y="10644"/>
                  <a:pt x="12196" y="10831"/>
                  <a:pt x="12273" y="11057"/>
                </a:cubicBezTo>
                <a:cubicBezTo>
                  <a:pt x="12350" y="11284"/>
                  <a:pt x="12388" y="11547"/>
                  <a:pt x="12388" y="11847"/>
                </a:cubicBezTo>
                <a:lnTo>
                  <a:pt x="11637" y="11847"/>
                </a:lnTo>
                <a:cubicBezTo>
                  <a:pt x="11628" y="11534"/>
                  <a:pt x="11570" y="11296"/>
                  <a:pt x="11463" y="11130"/>
                </a:cubicBezTo>
                <a:cubicBezTo>
                  <a:pt x="11355" y="10965"/>
                  <a:pt x="11238" y="10882"/>
                  <a:pt x="11001" y="10882"/>
                </a:cubicBezTo>
                <a:lnTo>
                  <a:pt x="11001" y="12819"/>
                </a:lnTo>
                <a:cubicBezTo>
                  <a:pt x="11199" y="12894"/>
                  <a:pt x="11336" y="12978"/>
                  <a:pt x="11525" y="13076"/>
                </a:cubicBezTo>
                <a:cubicBezTo>
                  <a:pt x="11714" y="13175"/>
                  <a:pt x="11881" y="13300"/>
                  <a:pt x="12026" y="13453"/>
                </a:cubicBezTo>
                <a:cubicBezTo>
                  <a:pt x="12171" y="13605"/>
                  <a:pt x="12287" y="13795"/>
                  <a:pt x="12375" y="14021"/>
                </a:cubicBezTo>
                <a:cubicBezTo>
                  <a:pt x="12463" y="14248"/>
                  <a:pt x="12507" y="14526"/>
                  <a:pt x="12507" y="14857"/>
                </a:cubicBezTo>
                <a:cubicBezTo>
                  <a:pt x="12507" y="15199"/>
                  <a:pt x="12466" y="15497"/>
                  <a:pt x="12385" y="15751"/>
                </a:cubicBezTo>
                <a:moveTo>
                  <a:pt x="10800" y="8100"/>
                </a:moveTo>
                <a:cubicBezTo>
                  <a:pt x="8631" y="8100"/>
                  <a:pt x="6873" y="10518"/>
                  <a:pt x="6873" y="13500"/>
                </a:cubicBezTo>
                <a:cubicBezTo>
                  <a:pt x="6873" y="16483"/>
                  <a:pt x="8631" y="18900"/>
                  <a:pt x="10800" y="18900"/>
                </a:cubicBezTo>
                <a:cubicBezTo>
                  <a:pt x="12969" y="18900"/>
                  <a:pt x="14727" y="16483"/>
                  <a:pt x="14727" y="13500"/>
                </a:cubicBezTo>
                <a:cubicBezTo>
                  <a:pt x="14727" y="10518"/>
                  <a:pt x="12969" y="8100"/>
                  <a:pt x="10800" y="8100"/>
                </a:cubicBezTo>
                <a:moveTo>
                  <a:pt x="17182" y="17550"/>
                </a:moveTo>
                <a:lnTo>
                  <a:pt x="16200" y="17550"/>
                </a:lnTo>
                <a:cubicBezTo>
                  <a:pt x="15929" y="17550"/>
                  <a:pt x="15709" y="17852"/>
                  <a:pt x="15709" y="18225"/>
                </a:cubicBezTo>
                <a:cubicBezTo>
                  <a:pt x="15709" y="18598"/>
                  <a:pt x="15929" y="18900"/>
                  <a:pt x="16200" y="18900"/>
                </a:cubicBezTo>
                <a:lnTo>
                  <a:pt x="17182" y="18900"/>
                </a:lnTo>
                <a:cubicBezTo>
                  <a:pt x="17453" y="18900"/>
                  <a:pt x="17673" y="18598"/>
                  <a:pt x="17673" y="18225"/>
                </a:cubicBezTo>
                <a:cubicBezTo>
                  <a:pt x="17673" y="17852"/>
                  <a:pt x="17453" y="17550"/>
                  <a:pt x="17182" y="17550"/>
                </a:cubicBezTo>
                <a:moveTo>
                  <a:pt x="20127" y="8100"/>
                </a:moveTo>
                <a:cubicBezTo>
                  <a:pt x="19856" y="8100"/>
                  <a:pt x="19636" y="7798"/>
                  <a:pt x="19636" y="7425"/>
                </a:cubicBezTo>
                <a:cubicBezTo>
                  <a:pt x="19636" y="7052"/>
                  <a:pt x="19856" y="6750"/>
                  <a:pt x="20127" y="6750"/>
                </a:cubicBezTo>
                <a:cubicBezTo>
                  <a:pt x="20399" y="6750"/>
                  <a:pt x="20618" y="7052"/>
                  <a:pt x="20618" y="7425"/>
                </a:cubicBezTo>
                <a:cubicBezTo>
                  <a:pt x="20618" y="7798"/>
                  <a:pt x="20399" y="8100"/>
                  <a:pt x="20127" y="8100"/>
                </a:cubicBezTo>
                <a:moveTo>
                  <a:pt x="20618" y="17674"/>
                </a:moveTo>
                <a:cubicBezTo>
                  <a:pt x="20464" y="17599"/>
                  <a:pt x="20300" y="17550"/>
                  <a:pt x="20127" y="17550"/>
                </a:cubicBezTo>
                <a:cubicBezTo>
                  <a:pt x="19314" y="17550"/>
                  <a:pt x="18655" y="18457"/>
                  <a:pt x="18655" y="19575"/>
                </a:cubicBezTo>
                <a:cubicBezTo>
                  <a:pt x="18655" y="19813"/>
                  <a:pt x="18690" y="20038"/>
                  <a:pt x="18745" y="20250"/>
                </a:cubicBezTo>
                <a:lnTo>
                  <a:pt x="2855" y="20250"/>
                </a:lnTo>
                <a:cubicBezTo>
                  <a:pt x="2910" y="20038"/>
                  <a:pt x="2945" y="19813"/>
                  <a:pt x="2945" y="19575"/>
                </a:cubicBezTo>
                <a:cubicBezTo>
                  <a:pt x="2945" y="18457"/>
                  <a:pt x="2286" y="17550"/>
                  <a:pt x="1473" y="17550"/>
                </a:cubicBezTo>
                <a:cubicBezTo>
                  <a:pt x="1300" y="17550"/>
                  <a:pt x="1136" y="17599"/>
                  <a:pt x="982" y="17674"/>
                </a:cubicBezTo>
                <a:lnTo>
                  <a:pt x="982" y="9326"/>
                </a:lnTo>
                <a:cubicBezTo>
                  <a:pt x="1136" y="9402"/>
                  <a:pt x="1300" y="9450"/>
                  <a:pt x="1473" y="9450"/>
                </a:cubicBezTo>
                <a:cubicBezTo>
                  <a:pt x="2286" y="9450"/>
                  <a:pt x="2945" y="8544"/>
                  <a:pt x="2945" y="7425"/>
                </a:cubicBezTo>
                <a:cubicBezTo>
                  <a:pt x="2945" y="7187"/>
                  <a:pt x="2910" y="6962"/>
                  <a:pt x="2855" y="6750"/>
                </a:cubicBezTo>
                <a:lnTo>
                  <a:pt x="18745" y="6750"/>
                </a:lnTo>
                <a:cubicBezTo>
                  <a:pt x="18690" y="6962"/>
                  <a:pt x="18655" y="7187"/>
                  <a:pt x="18655" y="7425"/>
                </a:cubicBezTo>
                <a:cubicBezTo>
                  <a:pt x="18655" y="8544"/>
                  <a:pt x="19314" y="9450"/>
                  <a:pt x="20127" y="9450"/>
                </a:cubicBezTo>
                <a:cubicBezTo>
                  <a:pt x="20300" y="9450"/>
                  <a:pt x="20464" y="9402"/>
                  <a:pt x="20618" y="9326"/>
                </a:cubicBezTo>
                <a:cubicBezTo>
                  <a:pt x="20618" y="9326"/>
                  <a:pt x="20618" y="17674"/>
                  <a:pt x="20618" y="17674"/>
                </a:cubicBezTo>
                <a:close/>
                <a:moveTo>
                  <a:pt x="20127" y="20250"/>
                </a:moveTo>
                <a:cubicBezTo>
                  <a:pt x="19856" y="20250"/>
                  <a:pt x="19636" y="19948"/>
                  <a:pt x="19636" y="19575"/>
                </a:cubicBezTo>
                <a:cubicBezTo>
                  <a:pt x="19636" y="19203"/>
                  <a:pt x="19856" y="18900"/>
                  <a:pt x="20127" y="18900"/>
                </a:cubicBezTo>
                <a:cubicBezTo>
                  <a:pt x="20399" y="18900"/>
                  <a:pt x="20618" y="19203"/>
                  <a:pt x="20618" y="19575"/>
                </a:cubicBezTo>
                <a:cubicBezTo>
                  <a:pt x="20618" y="19948"/>
                  <a:pt x="20399" y="20250"/>
                  <a:pt x="20127" y="20250"/>
                </a:cubicBezTo>
                <a:moveTo>
                  <a:pt x="1473" y="20250"/>
                </a:moveTo>
                <a:cubicBezTo>
                  <a:pt x="1201" y="20250"/>
                  <a:pt x="982" y="19948"/>
                  <a:pt x="982" y="19575"/>
                </a:cubicBezTo>
                <a:cubicBezTo>
                  <a:pt x="982" y="19203"/>
                  <a:pt x="1201" y="18900"/>
                  <a:pt x="1473" y="18900"/>
                </a:cubicBezTo>
                <a:cubicBezTo>
                  <a:pt x="1744" y="18900"/>
                  <a:pt x="1964" y="19203"/>
                  <a:pt x="1964" y="19575"/>
                </a:cubicBezTo>
                <a:cubicBezTo>
                  <a:pt x="1964" y="19948"/>
                  <a:pt x="1744" y="20250"/>
                  <a:pt x="1473" y="20250"/>
                </a:cubicBezTo>
                <a:moveTo>
                  <a:pt x="1473" y="6750"/>
                </a:moveTo>
                <a:cubicBezTo>
                  <a:pt x="1744" y="6750"/>
                  <a:pt x="1964" y="7052"/>
                  <a:pt x="1964" y="7425"/>
                </a:cubicBezTo>
                <a:cubicBezTo>
                  <a:pt x="1964" y="7798"/>
                  <a:pt x="1744" y="8100"/>
                  <a:pt x="1473" y="8100"/>
                </a:cubicBezTo>
                <a:cubicBezTo>
                  <a:pt x="1201" y="8100"/>
                  <a:pt x="982" y="7798"/>
                  <a:pt x="982" y="7425"/>
                </a:cubicBezTo>
                <a:cubicBezTo>
                  <a:pt x="982" y="7052"/>
                  <a:pt x="1201" y="6750"/>
                  <a:pt x="1473" y="6750"/>
                </a:cubicBezTo>
                <a:moveTo>
                  <a:pt x="20618" y="5400"/>
                </a:moveTo>
                <a:lnTo>
                  <a:pt x="982" y="5400"/>
                </a:lnTo>
                <a:cubicBezTo>
                  <a:pt x="440" y="5400"/>
                  <a:pt x="0" y="6004"/>
                  <a:pt x="0" y="6750"/>
                </a:cubicBezTo>
                <a:lnTo>
                  <a:pt x="0" y="20250"/>
                </a:lnTo>
                <a:cubicBezTo>
                  <a:pt x="0" y="20996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996"/>
                  <a:pt x="21600" y="20250"/>
                </a:cubicBezTo>
                <a:lnTo>
                  <a:pt x="21600" y="6750"/>
                </a:lnTo>
                <a:cubicBezTo>
                  <a:pt x="21600" y="6004"/>
                  <a:pt x="21160" y="5400"/>
                  <a:pt x="20618" y="5400"/>
                </a:cubicBezTo>
                <a:moveTo>
                  <a:pt x="2455" y="4050"/>
                </a:moveTo>
                <a:lnTo>
                  <a:pt x="19145" y="4050"/>
                </a:lnTo>
                <a:cubicBezTo>
                  <a:pt x="19417" y="4050"/>
                  <a:pt x="19636" y="3748"/>
                  <a:pt x="19636" y="3376"/>
                </a:cubicBezTo>
                <a:cubicBezTo>
                  <a:pt x="19636" y="3002"/>
                  <a:pt x="19417" y="2700"/>
                  <a:pt x="19145" y="2700"/>
                </a:cubicBezTo>
                <a:lnTo>
                  <a:pt x="2455" y="2700"/>
                </a:lnTo>
                <a:cubicBezTo>
                  <a:pt x="2183" y="2700"/>
                  <a:pt x="1964" y="3002"/>
                  <a:pt x="1964" y="3376"/>
                </a:cubicBezTo>
                <a:cubicBezTo>
                  <a:pt x="1964" y="3748"/>
                  <a:pt x="2183" y="4050"/>
                  <a:pt x="2455" y="4050"/>
                </a:cubicBezTo>
                <a:moveTo>
                  <a:pt x="4418" y="1350"/>
                </a:moveTo>
                <a:lnTo>
                  <a:pt x="17182" y="1350"/>
                </a:lnTo>
                <a:cubicBezTo>
                  <a:pt x="17453" y="1350"/>
                  <a:pt x="17673" y="1048"/>
                  <a:pt x="17673" y="675"/>
                </a:cubicBezTo>
                <a:cubicBezTo>
                  <a:pt x="17673" y="302"/>
                  <a:pt x="17453" y="0"/>
                  <a:pt x="17182" y="0"/>
                </a:cubicBezTo>
                <a:lnTo>
                  <a:pt x="4418" y="0"/>
                </a:lnTo>
                <a:cubicBezTo>
                  <a:pt x="4147" y="0"/>
                  <a:pt x="3927" y="302"/>
                  <a:pt x="3927" y="675"/>
                </a:cubicBezTo>
                <a:cubicBezTo>
                  <a:pt x="3927" y="1048"/>
                  <a:pt x="4147" y="1350"/>
                  <a:pt x="4418" y="1350"/>
                </a:cubicBezTo>
                <a:moveTo>
                  <a:pt x="5400" y="8100"/>
                </a:moveTo>
                <a:lnTo>
                  <a:pt x="4418" y="8100"/>
                </a:lnTo>
                <a:cubicBezTo>
                  <a:pt x="4147" y="8100"/>
                  <a:pt x="3927" y="8403"/>
                  <a:pt x="3927" y="8775"/>
                </a:cubicBezTo>
                <a:cubicBezTo>
                  <a:pt x="3927" y="9148"/>
                  <a:pt x="4147" y="9450"/>
                  <a:pt x="4418" y="9450"/>
                </a:cubicBezTo>
                <a:lnTo>
                  <a:pt x="5400" y="9450"/>
                </a:lnTo>
                <a:cubicBezTo>
                  <a:pt x="5671" y="9450"/>
                  <a:pt x="5891" y="9148"/>
                  <a:pt x="5891" y="8775"/>
                </a:cubicBezTo>
                <a:cubicBezTo>
                  <a:pt x="5891" y="8403"/>
                  <a:pt x="5671" y="8100"/>
                  <a:pt x="5400" y="8100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32" name="Shape 2617">
            <a:extLst>
              <a:ext uri="{FF2B5EF4-FFF2-40B4-BE49-F238E27FC236}">
                <a16:creationId xmlns:a16="http://schemas.microsoft.com/office/drawing/2014/main" id="{EFEFCCD2-E6F3-D442-ACBC-1B7F5788EB2A}"/>
              </a:ext>
            </a:extLst>
          </p:cNvPr>
          <p:cNvSpPr/>
          <p:nvPr/>
        </p:nvSpPr>
        <p:spPr>
          <a:xfrm>
            <a:off x="674842" y="5433789"/>
            <a:ext cx="397208" cy="3297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bg1"/>
          </a:solidFill>
          <a:ln w="12700">
            <a:noFill/>
            <a:miter lim="400000"/>
          </a:ln>
        </p:spPr>
        <p:txBody>
          <a:bodyPr lIns="38090" tIns="38090" rIns="38090" bIns="38090" anchor="ctr"/>
          <a:lstStyle/>
          <a:p>
            <a:pPr marL="0" marR="0" lvl="0" indent="0" algn="just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38919514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30439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Environm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32971" y="1632983"/>
            <a:ext cx="111233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defRPr>
            </a:lvl1pPr>
          </a:lstStyle>
          <a:p>
            <a:r>
              <a:rPr lang="en-US" dirty="0"/>
              <a:t>The Prominent Features and Incentives Granted to Foreign Investors on the Amendments of the UAE Federal Law No. (2) Of 2015 on Commercial Companies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25714" y="2504483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526716" y="3197149"/>
            <a:ext cx="695465" cy="631536"/>
          </a:xfrm>
          <a:prstGeom prst="roundRect">
            <a:avLst/>
          </a:prstGeom>
          <a:solidFill>
            <a:srgbClr val="AD833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532969" y="3911335"/>
            <a:ext cx="695465" cy="631536"/>
          </a:xfrm>
          <a:prstGeom prst="roundRect">
            <a:avLst/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Next Arabic" panose="020B0503030202020203" pitchFamily="34" charset="-78"/>
              <a:ea typeface="+mn-ea"/>
              <a:cs typeface="Univers Next Arabic" panose="020B0503030202020203" pitchFamily="34" charset="-7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55293" y="2650974"/>
            <a:ext cx="85222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There is no Limit for the Number of Shareholders in the Private Joint Stock Company.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255293" y="3338270"/>
            <a:ext cx="89188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Restructuring the Company in Light of Accumulated Losses.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221179" y="4021287"/>
            <a:ext cx="96452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Granting the Investor any of the Following Actions:</a:t>
            </a:r>
          </a:p>
        </p:txBody>
      </p:sp>
      <p:sp>
        <p:nvSpPr>
          <p:cNvPr id="19" name="Shape 2930">
            <a:extLst>
              <a:ext uri="{FF2B5EF4-FFF2-40B4-BE49-F238E27FC236}">
                <a16:creationId xmlns:a16="http://schemas.microsoft.com/office/drawing/2014/main" id="{8A79738B-1613-A940-89D7-4013B55D2C73}"/>
              </a:ext>
            </a:extLst>
          </p:cNvPr>
          <p:cNvSpPr/>
          <p:nvPr/>
        </p:nvSpPr>
        <p:spPr>
          <a:xfrm>
            <a:off x="674843" y="2695128"/>
            <a:ext cx="364872" cy="2626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955" y="1543"/>
                </a:moveTo>
                <a:cubicBezTo>
                  <a:pt x="12837" y="1543"/>
                  <a:pt x="10309" y="5515"/>
                  <a:pt x="10309" y="10414"/>
                </a:cubicBezTo>
                <a:lnTo>
                  <a:pt x="10309" y="11186"/>
                </a:lnTo>
                <a:cubicBezTo>
                  <a:pt x="10309" y="15233"/>
                  <a:pt x="8221" y="18514"/>
                  <a:pt x="5645" y="18514"/>
                </a:cubicBezTo>
                <a:cubicBezTo>
                  <a:pt x="3070" y="18514"/>
                  <a:pt x="982" y="15233"/>
                  <a:pt x="982" y="11186"/>
                </a:cubicBezTo>
                <a:lnTo>
                  <a:pt x="982" y="10414"/>
                </a:lnTo>
                <a:cubicBezTo>
                  <a:pt x="982" y="6367"/>
                  <a:pt x="3070" y="3086"/>
                  <a:pt x="5645" y="3086"/>
                </a:cubicBezTo>
                <a:cubicBezTo>
                  <a:pt x="6670" y="3086"/>
                  <a:pt x="7575" y="3630"/>
                  <a:pt x="8321" y="4629"/>
                </a:cubicBezTo>
                <a:lnTo>
                  <a:pt x="6382" y="4629"/>
                </a:lnTo>
                <a:cubicBezTo>
                  <a:pt x="6110" y="4629"/>
                  <a:pt x="5891" y="4974"/>
                  <a:pt x="5891" y="5400"/>
                </a:cubicBezTo>
                <a:cubicBezTo>
                  <a:pt x="5891" y="5826"/>
                  <a:pt x="6110" y="6171"/>
                  <a:pt x="6382" y="6171"/>
                </a:cubicBezTo>
                <a:lnTo>
                  <a:pt x="9327" y="6171"/>
                </a:lnTo>
                <a:cubicBezTo>
                  <a:pt x="9599" y="6171"/>
                  <a:pt x="9818" y="5826"/>
                  <a:pt x="9818" y="5400"/>
                </a:cubicBezTo>
                <a:lnTo>
                  <a:pt x="9818" y="771"/>
                </a:lnTo>
                <a:cubicBezTo>
                  <a:pt x="9818" y="346"/>
                  <a:pt x="9599" y="0"/>
                  <a:pt x="9327" y="0"/>
                </a:cubicBezTo>
                <a:cubicBezTo>
                  <a:pt x="9056" y="0"/>
                  <a:pt x="8836" y="346"/>
                  <a:pt x="8836" y="771"/>
                </a:cubicBezTo>
                <a:lnTo>
                  <a:pt x="8836" y="3321"/>
                </a:lnTo>
                <a:cubicBezTo>
                  <a:pt x="7879" y="2160"/>
                  <a:pt x="6706" y="1543"/>
                  <a:pt x="5645" y="1543"/>
                </a:cubicBezTo>
                <a:cubicBezTo>
                  <a:pt x="2527" y="1543"/>
                  <a:pt x="0" y="5515"/>
                  <a:pt x="0" y="10414"/>
                </a:cubicBezTo>
                <a:lnTo>
                  <a:pt x="0" y="11186"/>
                </a:lnTo>
                <a:cubicBezTo>
                  <a:pt x="0" y="16085"/>
                  <a:pt x="2527" y="20057"/>
                  <a:pt x="5645" y="20057"/>
                </a:cubicBezTo>
                <a:cubicBezTo>
                  <a:pt x="8763" y="20057"/>
                  <a:pt x="11291" y="16085"/>
                  <a:pt x="11291" y="11186"/>
                </a:cubicBezTo>
                <a:lnTo>
                  <a:pt x="11291" y="10414"/>
                </a:lnTo>
                <a:cubicBezTo>
                  <a:pt x="11291" y="6367"/>
                  <a:pt x="13379" y="3086"/>
                  <a:pt x="15955" y="3086"/>
                </a:cubicBezTo>
                <a:cubicBezTo>
                  <a:pt x="18530" y="3086"/>
                  <a:pt x="20618" y="6367"/>
                  <a:pt x="20618" y="10414"/>
                </a:cubicBezTo>
                <a:lnTo>
                  <a:pt x="20618" y="11186"/>
                </a:lnTo>
                <a:cubicBezTo>
                  <a:pt x="20618" y="15233"/>
                  <a:pt x="18530" y="18514"/>
                  <a:pt x="15955" y="18514"/>
                </a:cubicBezTo>
                <a:cubicBezTo>
                  <a:pt x="14930" y="18514"/>
                  <a:pt x="14025" y="17970"/>
                  <a:pt x="13279" y="16971"/>
                </a:cubicBezTo>
                <a:lnTo>
                  <a:pt x="15218" y="16971"/>
                </a:lnTo>
                <a:cubicBezTo>
                  <a:pt x="15490" y="16971"/>
                  <a:pt x="15709" y="16626"/>
                  <a:pt x="15709" y="16200"/>
                </a:cubicBezTo>
                <a:cubicBezTo>
                  <a:pt x="15709" y="15774"/>
                  <a:pt x="15490" y="15429"/>
                  <a:pt x="15218" y="15429"/>
                </a:cubicBezTo>
                <a:lnTo>
                  <a:pt x="12273" y="15429"/>
                </a:lnTo>
                <a:cubicBezTo>
                  <a:pt x="12001" y="15429"/>
                  <a:pt x="11782" y="15774"/>
                  <a:pt x="11782" y="16200"/>
                </a:cubicBezTo>
                <a:lnTo>
                  <a:pt x="11782" y="20829"/>
                </a:lnTo>
                <a:cubicBezTo>
                  <a:pt x="11782" y="21255"/>
                  <a:pt x="12001" y="21600"/>
                  <a:pt x="12273" y="21600"/>
                </a:cubicBezTo>
                <a:cubicBezTo>
                  <a:pt x="12544" y="21600"/>
                  <a:pt x="12764" y="21255"/>
                  <a:pt x="12764" y="20829"/>
                </a:cubicBezTo>
                <a:lnTo>
                  <a:pt x="12764" y="18279"/>
                </a:lnTo>
                <a:cubicBezTo>
                  <a:pt x="13721" y="19441"/>
                  <a:pt x="14894" y="20057"/>
                  <a:pt x="15955" y="20057"/>
                </a:cubicBezTo>
                <a:cubicBezTo>
                  <a:pt x="19073" y="20057"/>
                  <a:pt x="21600" y="16085"/>
                  <a:pt x="21600" y="11186"/>
                </a:cubicBezTo>
                <a:lnTo>
                  <a:pt x="21600" y="10414"/>
                </a:lnTo>
                <a:cubicBezTo>
                  <a:pt x="21600" y="5515"/>
                  <a:pt x="19073" y="1543"/>
                  <a:pt x="15955" y="1543"/>
                </a:cubicBezTo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marL="0" marR="0" lvl="0" indent="0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0" name="Shape 2881">
            <a:extLst>
              <a:ext uri="{FF2B5EF4-FFF2-40B4-BE49-F238E27FC236}">
                <a16:creationId xmlns:a16="http://schemas.microsoft.com/office/drawing/2014/main" id="{F99EA225-3445-FB43-9E15-F60FE418B57C}"/>
              </a:ext>
            </a:extLst>
          </p:cNvPr>
          <p:cNvSpPr/>
          <p:nvPr/>
        </p:nvSpPr>
        <p:spPr>
          <a:xfrm>
            <a:off x="660418" y="3317579"/>
            <a:ext cx="393721" cy="4011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062" y="5890"/>
                </a:moveTo>
                <a:lnTo>
                  <a:pt x="10786" y="7776"/>
                </a:lnTo>
                <a:lnTo>
                  <a:pt x="13925" y="9725"/>
                </a:lnTo>
                <a:lnTo>
                  <a:pt x="16200" y="7926"/>
                </a:lnTo>
                <a:cubicBezTo>
                  <a:pt x="16200" y="7926"/>
                  <a:pt x="13062" y="5890"/>
                  <a:pt x="13062" y="5890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1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1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5400" y="8027"/>
                </a:moveTo>
                <a:lnTo>
                  <a:pt x="7647" y="9763"/>
                </a:lnTo>
                <a:lnTo>
                  <a:pt x="10786" y="7776"/>
                </a:lnTo>
                <a:lnTo>
                  <a:pt x="8630" y="5891"/>
                </a:lnTo>
                <a:cubicBezTo>
                  <a:pt x="8630" y="5891"/>
                  <a:pt x="5400" y="8027"/>
                  <a:pt x="5400" y="8027"/>
                </a:cubicBezTo>
                <a:close/>
                <a:moveTo>
                  <a:pt x="13925" y="9726"/>
                </a:moveTo>
                <a:lnTo>
                  <a:pt x="13925" y="9725"/>
                </a:lnTo>
                <a:lnTo>
                  <a:pt x="13925" y="9725"/>
                </a:lnTo>
                <a:lnTo>
                  <a:pt x="13924" y="9725"/>
                </a:lnTo>
                <a:cubicBezTo>
                  <a:pt x="13924" y="9725"/>
                  <a:pt x="13925" y="9726"/>
                  <a:pt x="13925" y="9726"/>
                </a:cubicBezTo>
                <a:close/>
                <a:moveTo>
                  <a:pt x="12965" y="14699"/>
                </a:moveTo>
                <a:lnTo>
                  <a:pt x="12959" y="14707"/>
                </a:lnTo>
                <a:lnTo>
                  <a:pt x="10801" y="13101"/>
                </a:lnTo>
                <a:lnTo>
                  <a:pt x="8731" y="14685"/>
                </a:lnTo>
                <a:lnTo>
                  <a:pt x="8712" y="14715"/>
                </a:lnTo>
                <a:lnTo>
                  <a:pt x="7571" y="14025"/>
                </a:lnTo>
                <a:lnTo>
                  <a:pt x="7571" y="14627"/>
                </a:lnTo>
                <a:lnTo>
                  <a:pt x="10799" y="16692"/>
                </a:lnTo>
                <a:lnTo>
                  <a:pt x="14001" y="14627"/>
                </a:lnTo>
                <a:lnTo>
                  <a:pt x="14001" y="14067"/>
                </a:lnTo>
                <a:lnTo>
                  <a:pt x="12965" y="14699"/>
                </a:lnTo>
                <a:cubicBezTo>
                  <a:pt x="12965" y="14699"/>
                  <a:pt x="12965" y="14699"/>
                  <a:pt x="12965" y="14699"/>
                </a:cubicBezTo>
                <a:close/>
                <a:moveTo>
                  <a:pt x="7641" y="9766"/>
                </a:moveTo>
                <a:lnTo>
                  <a:pt x="5404" y="11577"/>
                </a:lnTo>
                <a:lnTo>
                  <a:pt x="7350" y="12746"/>
                </a:lnTo>
                <a:lnTo>
                  <a:pt x="7351" y="12745"/>
                </a:lnTo>
                <a:lnTo>
                  <a:pt x="7742" y="12982"/>
                </a:lnTo>
                <a:lnTo>
                  <a:pt x="8631" y="13516"/>
                </a:lnTo>
                <a:lnTo>
                  <a:pt x="10060" y="12431"/>
                </a:lnTo>
                <a:lnTo>
                  <a:pt x="10780" y="11879"/>
                </a:lnTo>
                <a:lnTo>
                  <a:pt x="10783" y="11882"/>
                </a:lnTo>
                <a:lnTo>
                  <a:pt x="10786" y="11880"/>
                </a:lnTo>
                <a:lnTo>
                  <a:pt x="10798" y="11888"/>
                </a:lnTo>
                <a:lnTo>
                  <a:pt x="10804" y="11879"/>
                </a:lnTo>
                <a:lnTo>
                  <a:pt x="12515" y="13153"/>
                </a:lnTo>
                <a:lnTo>
                  <a:pt x="13007" y="13515"/>
                </a:lnTo>
                <a:lnTo>
                  <a:pt x="16199" y="11575"/>
                </a:lnTo>
                <a:lnTo>
                  <a:pt x="13925" y="9726"/>
                </a:lnTo>
                <a:lnTo>
                  <a:pt x="10787" y="11715"/>
                </a:lnTo>
                <a:cubicBezTo>
                  <a:pt x="10787" y="11715"/>
                  <a:pt x="7641" y="9766"/>
                  <a:pt x="7641" y="9766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marL="0" marR="0" lvl="0" indent="0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4" name="Shape 2777">
            <a:extLst>
              <a:ext uri="{FF2B5EF4-FFF2-40B4-BE49-F238E27FC236}">
                <a16:creationId xmlns:a16="http://schemas.microsoft.com/office/drawing/2014/main" id="{62229725-FEFA-1949-8F3F-53AD216D4E24}"/>
              </a:ext>
            </a:extLst>
          </p:cNvPr>
          <p:cNvSpPr/>
          <p:nvPr/>
        </p:nvSpPr>
        <p:spPr>
          <a:xfrm>
            <a:off x="719928" y="4054317"/>
            <a:ext cx="274699" cy="3455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50" y="20095"/>
                </a:moveTo>
                <a:lnTo>
                  <a:pt x="11298" y="14886"/>
                </a:lnTo>
                <a:lnTo>
                  <a:pt x="11293" y="14890"/>
                </a:lnTo>
                <a:cubicBezTo>
                  <a:pt x="11170" y="14791"/>
                  <a:pt x="10997" y="14727"/>
                  <a:pt x="10800" y="14727"/>
                </a:cubicBezTo>
                <a:cubicBezTo>
                  <a:pt x="10603" y="14727"/>
                  <a:pt x="10430" y="14791"/>
                  <a:pt x="10306" y="14890"/>
                </a:cubicBezTo>
                <a:lnTo>
                  <a:pt x="10302" y="14886"/>
                </a:lnTo>
                <a:lnTo>
                  <a:pt x="1350" y="20095"/>
                </a:lnTo>
                <a:lnTo>
                  <a:pt x="1350" y="982"/>
                </a:lnTo>
                <a:lnTo>
                  <a:pt x="20250" y="982"/>
                </a:lnTo>
                <a:cubicBezTo>
                  <a:pt x="20250" y="982"/>
                  <a:pt x="20250" y="20095"/>
                  <a:pt x="20250" y="20095"/>
                </a:cubicBezTo>
                <a:close/>
                <a:moveTo>
                  <a:pt x="20925" y="0"/>
                </a:moveTo>
                <a:lnTo>
                  <a:pt x="675" y="0"/>
                </a:lnTo>
                <a:cubicBezTo>
                  <a:pt x="302" y="0"/>
                  <a:pt x="0" y="220"/>
                  <a:pt x="0" y="491"/>
                </a:cubicBezTo>
                <a:lnTo>
                  <a:pt x="0" y="21109"/>
                </a:lnTo>
                <a:cubicBezTo>
                  <a:pt x="0" y="21380"/>
                  <a:pt x="302" y="21600"/>
                  <a:pt x="675" y="21600"/>
                </a:cubicBezTo>
                <a:cubicBezTo>
                  <a:pt x="872" y="21600"/>
                  <a:pt x="1045" y="21537"/>
                  <a:pt x="1169" y="21438"/>
                </a:cubicBezTo>
                <a:lnTo>
                  <a:pt x="1173" y="21441"/>
                </a:lnTo>
                <a:lnTo>
                  <a:pt x="10800" y="15839"/>
                </a:lnTo>
                <a:lnTo>
                  <a:pt x="20427" y="21441"/>
                </a:lnTo>
                <a:lnTo>
                  <a:pt x="20431" y="21438"/>
                </a:lnTo>
                <a:cubicBezTo>
                  <a:pt x="20555" y="21537"/>
                  <a:pt x="20728" y="21600"/>
                  <a:pt x="20925" y="21600"/>
                </a:cubicBezTo>
                <a:cubicBezTo>
                  <a:pt x="21298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298" y="0"/>
                  <a:pt x="20925" y="0"/>
                </a:cubicBezTo>
                <a:moveTo>
                  <a:pt x="7337" y="7850"/>
                </a:moveTo>
                <a:lnTo>
                  <a:pt x="9710" y="7850"/>
                </a:lnTo>
                <a:lnTo>
                  <a:pt x="10039" y="7213"/>
                </a:lnTo>
                <a:lnTo>
                  <a:pt x="10800" y="5738"/>
                </a:lnTo>
                <a:lnTo>
                  <a:pt x="11561" y="7213"/>
                </a:lnTo>
                <a:lnTo>
                  <a:pt x="11890" y="7850"/>
                </a:lnTo>
                <a:lnTo>
                  <a:pt x="14263" y="7850"/>
                </a:lnTo>
                <a:lnTo>
                  <a:pt x="13014" y="8550"/>
                </a:lnTo>
                <a:lnTo>
                  <a:pt x="12253" y="8976"/>
                </a:lnTo>
                <a:lnTo>
                  <a:pt x="12557" y="9638"/>
                </a:lnTo>
                <a:lnTo>
                  <a:pt x="13240" y="11130"/>
                </a:lnTo>
                <a:lnTo>
                  <a:pt x="11598" y="10254"/>
                </a:lnTo>
                <a:lnTo>
                  <a:pt x="10800" y="9828"/>
                </a:lnTo>
                <a:lnTo>
                  <a:pt x="10002" y="10254"/>
                </a:lnTo>
                <a:lnTo>
                  <a:pt x="8360" y="11130"/>
                </a:lnTo>
                <a:lnTo>
                  <a:pt x="9043" y="9638"/>
                </a:lnTo>
                <a:lnTo>
                  <a:pt x="9347" y="8976"/>
                </a:lnTo>
                <a:lnTo>
                  <a:pt x="8586" y="8550"/>
                </a:lnTo>
                <a:cubicBezTo>
                  <a:pt x="8586" y="8550"/>
                  <a:pt x="7337" y="7850"/>
                  <a:pt x="7337" y="7850"/>
                </a:cubicBezTo>
                <a:close/>
                <a:moveTo>
                  <a:pt x="5737" y="13745"/>
                </a:moveTo>
                <a:lnTo>
                  <a:pt x="10800" y="11045"/>
                </a:lnTo>
                <a:lnTo>
                  <a:pt x="15863" y="13745"/>
                </a:lnTo>
                <a:lnTo>
                  <a:pt x="13838" y="9328"/>
                </a:lnTo>
                <a:lnTo>
                  <a:pt x="18225" y="6868"/>
                </a:lnTo>
                <a:lnTo>
                  <a:pt x="12825" y="6868"/>
                </a:lnTo>
                <a:lnTo>
                  <a:pt x="10800" y="2945"/>
                </a:lnTo>
                <a:lnTo>
                  <a:pt x="8775" y="6868"/>
                </a:lnTo>
                <a:lnTo>
                  <a:pt x="3375" y="6868"/>
                </a:lnTo>
                <a:lnTo>
                  <a:pt x="7762" y="9328"/>
                </a:lnTo>
                <a:cubicBezTo>
                  <a:pt x="7762" y="9328"/>
                  <a:pt x="5737" y="13745"/>
                  <a:pt x="5737" y="13745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/>
            </a:solidFill>
            <a:miter lim="400000"/>
          </a:ln>
        </p:spPr>
        <p:txBody>
          <a:bodyPr lIns="38090" tIns="38090" rIns="38090" bIns="38090" anchor="ctr"/>
          <a:lstStyle/>
          <a:p>
            <a:pPr marL="0" marR="0" lvl="0" indent="0" defTabSz="4570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9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55293" y="4399889"/>
            <a:ext cx="777853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42900" algn="just">
              <a:lnSpc>
                <a:spcPct val="150000"/>
              </a:lnSpc>
              <a:buClr>
                <a:srgbClr val="AD833B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The introduction of a partner or a number of partners. </a:t>
            </a:r>
          </a:p>
          <a:p>
            <a:pPr indent="-342900" algn="just">
              <a:lnSpc>
                <a:spcPct val="150000"/>
              </a:lnSpc>
              <a:buClr>
                <a:srgbClr val="AD833B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Transfer of company ownership. </a:t>
            </a:r>
          </a:p>
          <a:p>
            <a:pPr indent="-342900" algn="just">
              <a:lnSpc>
                <a:spcPct val="150000"/>
              </a:lnSpc>
              <a:buClr>
                <a:srgbClr val="AD833B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Changing the legal form of the company.</a:t>
            </a:r>
          </a:p>
          <a:p>
            <a:pPr indent="-342900" algn="just">
              <a:lnSpc>
                <a:spcPct val="150000"/>
              </a:lnSpc>
              <a:buClr>
                <a:srgbClr val="AD833B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Mergers and acquisition. </a:t>
            </a:r>
          </a:p>
          <a:p>
            <a:pPr indent="-342900" algn="just">
              <a:lnSpc>
                <a:spcPct val="150000"/>
              </a:lnSpc>
              <a:buClr>
                <a:srgbClr val="AD833B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Liquidation. </a:t>
            </a:r>
          </a:p>
        </p:txBody>
      </p:sp>
    </p:spTree>
    <p:extLst>
      <p:ext uri="{BB962C8B-B14F-4D97-AF65-F5344CB8AC3E}">
        <p14:creationId xmlns:p14="http://schemas.microsoft.com/office/powerpoint/2010/main" val="162284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88036" y="1991141"/>
            <a:ext cx="1124972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Clr>
                <a:srgbClr val="AD833B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Economy </a:t>
            </a:r>
          </a:p>
          <a:p>
            <a:pPr marL="342900" lvl="0" indent="-342900">
              <a:lnSpc>
                <a:spcPct val="200000"/>
              </a:lnSpc>
              <a:buClr>
                <a:srgbClr val="AD833B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Environment</a:t>
            </a:r>
          </a:p>
          <a:p>
            <a:pPr marL="342900" lvl="0" indent="-342900">
              <a:lnSpc>
                <a:spcPct val="200000"/>
              </a:lnSpc>
              <a:buClr>
                <a:srgbClr val="AD833B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Global Business Rankings </a:t>
            </a:r>
          </a:p>
        </p:txBody>
      </p:sp>
      <p:sp>
        <p:nvSpPr>
          <p:cNvPr id="3" name="Rectangle 2"/>
          <p:cNvSpPr/>
          <p:nvPr/>
        </p:nvSpPr>
        <p:spPr>
          <a:xfrm>
            <a:off x="580061" y="1139382"/>
            <a:ext cx="21665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Outline</a:t>
            </a:r>
          </a:p>
        </p:txBody>
      </p:sp>
    </p:spTree>
    <p:extLst>
      <p:ext uri="{BB962C8B-B14F-4D97-AF65-F5344CB8AC3E}">
        <p14:creationId xmlns:p14="http://schemas.microsoft.com/office/powerpoint/2010/main" val="10507850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1ED846D-DBB6-42E3-A5C3-F385E3D735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20645" y="2133601"/>
            <a:ext cx="8750709" cy="2428568"/>
          </a:xfrm>
        </p:spPr>
        <p:txBody>
          <a:bodyPr>
            <a:noAutofit/>
          </a:bodyPr>
          <a:lstStyle/>
          <a:p>
            <a:r>
              <a:rPr lang="en-US" sz="5400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Global Business Rankings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2569" cy="107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928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1" y="1155760"/>
            <a:ext cx="70673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Global &amp; Regional Business Rankings 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532971" y="2800635"/>
            <a:ext cx="3004916" cy="3876490"/>
            <a:chOff x="224421" y="1906917"/>
            <a:chExt cx="3004916" cy="3876490"/>
          </a:xfrm>
        </p:grpSpPr>
        <p:sp>
          <p:nvSpPr>
            <p:cNvPr id="67" name="TextBox 21"/>
            <p:cNvSpPr txBox="1">
              <a:spLocks noChangeArrowheads="1"/>
            </p:cNvSpPr>
            <p:nvPr/>
          </p:nvSpPr>
          <p:spPr bwMode="auto">
            <a:xfrm>
              <a:off x="528481" y="5198632"/>
              <a:ext cx="2389064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rtl="1"/>
              <a:r>
                <a:rPr lang="en-US" sz="3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/>
                  <a:ea typeface="GE SS Two Light" panose="020A0503020102020204" pitchFamily="18" charset="-78"/>
                  <a:cs typeface="Segoe UI" panose="020B0502040204020203" pitchFamily="34" charset="0"/>
                </a:rPr>
                <a:t>Globally</a:t>
              </a:r>
            </a:p>
          </p:txBody>
        </p:sp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421" y="1906917"/>
              <a:ext cx="3004916" cy="3120490"/>
            </a:xfrm>
            <a:prstGeom prst="rect">
              <a:avLst/>
            </a:prstGeom>
          </p:spPr>
        </p:pic>
        <p:sp>
          <p:nvSpPr>
            <p:cNvPr id="72" name="TextBox 71"/>
            <p:cNvSpPr txBox="1">
              <a:spLocks noChangeArrowheads="1"/>
            </p:cNvSpPr>
            <p:nvPr/>
          </p:nvSpPr>
          <p:spPr bwMode="auto">
            <a:xfrm flipH="1">
              <a:off x="1040786" y="2200032"/>
              <a:ext cx="1364454" cy="92333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5400" dirty="0">
                  <a:solidFill>
                    <a:srgbClr val="3E3C43"/>
                  </a:solidFill>
                  <a:latin typeface="Calibri" panose="020F0502020204030204"/>
                  <a:ea typeface="GE SS Two Light" panose="020A0503020102020204" pitchFamily="18" charset="-78"/>
                  <a:cs typeface="Univers Next Arabic" panose="020B0503030202020203" pitchFamily="34" charset="-78"/>
                </a:rPr>
                <a:t>16</a:t>
              </a:r>
              <a:endParaRPr lang="en-US" sz="6600" dirty="0">
                <a:solidFill>
                  <a:srgbClr val="3E3C43"/>
                </a:solidFill>
                <a:latin typeface="Calibri" panose="020F0502020204030204"/>
                <a:ea typeface="GE SS Two Light" panose="020A0503020102020204" pitchFamily="18" charset="-78"/>
                <a:cs typeface="Univers Next Arabic" panose="020B0503030202020203" pitchFamily="34" charset="-78"/>
              </a:endParaRPr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2486434" y="2316207"/>
            <a:ext cx="21029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(World Bank) 2020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306242" y="1994622"/>
            <a:ext cx="4155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UAE Ranking in Ease of Doing Business</a:t>
            </a:r>
          </a:p>
        </p:txBody>
      </p:sp>
      <p:grpSp>
        <p:nvGrpSpPr>
          <p:cNvPr id="75" name="Group 74"/>
          <p:cNvGrpSpPr/>
          <p:nvPr/>
        </p:nvGrpSpPr>
        <p:grpSpPr>
          <a:xfrm rot="5400000">
            <a:off x="4443156" y="4478459"/>
            <a:ext cx="4754877" cy="45719"/>
            <a:chOff x="7001699" y="3148901"/>
            <a:chExt cx="4194767" cy="11431"/>
          </a:xfrm>
        </p:grpSpPr>
        <p:sp>
          <p:nvSpPr>
            <p:cNvPr id="76" name="Shape 1036"/>
            <p:cNvSpPr/>
            <p:nvPr/>
          </p:nvSpPr>
          <p:spPr>
            <a:xfrm>
              <a:off x="7001699" y="3148901"/>
              <a:ext cx="1085850" cy="1"/>
            </a:xfrm>
            <a:prstGeom prst="line">
              <a:avLst/>
            </a:prstGeom>
            <a:noFill/>
            <a:ln w="25400" cap="flat">
              <a:solidFill>
                <a:srgbClr val="AF884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solidFill>
                  <a:srgbClr val="656D78"/>
                </a:solidFill>
                <a:latin typeface="Calibri" panose="020F0502020204030204"/>
              </a:endParaRPr>
            </a:p>
          </p:txBody>
        </p:sp>
        <p:sp>
          <p:nvSpPr>
            <p:cNvPr id="77" name="Shape 1037"/>
            <p:cNvSpPr/>
            <p:nvPr/>
          </p:nvSpPr>
          <p:spPr>
            <a:xfrm>
              <a:off x="7001699" y="3160332"/>
              <a:ext cx="4194767" cy="0"/>
            </a:xfrm>
            <a:prstGeom prst="line">
              <a:avLst/>
            </a:prstGeom>
            <a:noFill/>
            <a:ln w="9525" cap="flat">
              <a:solidFill>
                <a:srgbClr val="AF884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solidFill>
                  <a:srgbClr val="656D78"/>
                </a:solidFill>
                <a:latin typeface="Calibri" panose="020F0502020204030204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7977067" y="2800635"/>
            <a:ext cx="3004916" cy="3876490"/>
            <a:chOff x="224421" y="1906917"/>
            <a:chExt cx="3004916" cy="3876490"/>
          </a:xfrm>
        </p:grpSpPr>
        <p:sp>
          <p:nvSpPr>
            <p:cNvPr id="79" name="TextBox 21"/>
            <p:cNvSpPr txBox="1">
              <a:spLocks noChangeArrowheads="1"/>
            </p:cNvSpPr>
            <p:nvPr/>
          </p:nvSpPr>
          <p:spPr bwMode="auto">
            <a:xfrm>
              <a:off x="528481" y="5198632"/>
              <a:ext cx="2389064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rtl="1"/>
              <a:r>
                <a:rPr lang="en-US" sz="3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/>
                  <a:ea typeface="GE SS Two Light" panose="020A0503020102020204" pitchFamily="18" charset="-78"/>
                  <a:cs typeface="Segoe UI" panose="020B0502040204020203" pitchFamily="34" charset="0"/>
                </a:rPr>
                <a:t>Globally</a:t>
              </a: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421" y="1906917"/>
              <a:ext cx="3004916" cy="3120490"/>
            </a:xfrm>
            <a:prstGeom prst="rect">
              <a:avLst/>
            </a:prstGeom>
          </p:spPr>
        </p:pic>
        <p:sp>
          <p:nvSpPr>
            <p:cNvPr id="81" name="TextBox 80"/>
            <p:cNvSpPr txBox="1">
              <a:spLocks noChangeArrowheads="1"/>
            </p:cNvSpPr>
            <p:nvPr/>
          </p:nvSpPr>
          <p:spPr bwMode="auto">
            <a:xfrm flipH="1">
              <a:off x="1040786" y="2207573"/>
              <a:ext cx="1364454" cy="92333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5400" dirty="0">
                  <a:solidFill>
                    <a:srgbClr val="3E3C43"/>
                  </a:solidFill>
                  <a:latin typeface="Calibri" panose="020F0502020204030204"/>
                  <a:ea typeface="GE SS Two Light" panose="020A0503020102020204" pitchFamily="18" charset="-78"/>
                  <a:cs typeface="Univers Next Arabic" panose="020B0503030202020203" pitchFamily="34" charset="-78"/>
                </a:rPr>
                <a:t>18</a:t>
              </a:r>
              <a:endParaRPr lang="en-US" sz="6600" dirty="0">
                <a:solidFill>
                  <a:srgbClr val="3E3C43"/>
                </a:solidFill>
                <a:latin typeface="Calibri" panose="020F0502020204030204"/>
                <a:ea typeface="GE SS Two Light" panose="020A0503020102020204" pitchFamily="18" charset="-78"/>
                <a:cs typeface="Univers Next Arabic" panose="020B0503030202020203" pitchFamily="34" charset="-78"/>
              </a:endParaRPr>
            </a:p>
          </p:txBody>
        </p:sp>
      </p:grpSp>
      <p:sp>
        <p:nvSpPr>
          <p:cNvPr id="82" name="TextBox 81"/>
          <p:cNvSpPr txBox="1"/>
          <p:nvPr/>
        </p:nvSpPr>
        <p:spPr>
          <a:xfrm>
            <a:off x="7272602" y="2022168"/>
            <a:ext cx="4413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UAE Ranking in Economic Freedom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874998" y="2303679"/>
            <a:ext cx="3201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(The Heritage Foundation) 2020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3AC0856-56F8-4575-9153-2DD7DB2AD3AA}"/>
              </a:ext>
            </a:extLst>
          </p:cNvPr>
          <p:cNvSpPr txBox="1"/>
          <p:nvPr/>
        </p:nvSpPr>
        <p:spPr>
          <a:xfrm flipH="1">
            <a:off x="3035722" y="3987201"/>
            <a:ext cx="605659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1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st</a:t>
            </a:r>
            <a:endParaRPr lang="en-US" sz="3600" b="1" dirty="0">
              <a:ln w="0"/>
              <a:solidFill>
                <a:srgbClr val="3E3C43"/>
              </a:solidFill>
              <a:effectLst>
                <a:reflection blurRad="6350" stA="53000" endA="300" endPos="35500" dir="5400000" sy="-90000" algn="bl" rotWithShape="0"/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18D935B-A751-437D-955F-33B81AE599C5}"/>
              </a:ext>
            </a:extLst>
          </p:cNvPr>
          <p:cNvSpPr txBox="1"/>
          <p:nvPr/>
        </p:nvSpPr>
        <p:spPr>
          <a:xfrm flipH="1">
            <a:off x="3668285" y="3900993"/>
            <a:ext cx="2898564" cy="499439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ea typeface="Roboto Light" pitchFamily="2" charset="0"/>
              <a:cs typeface="Univers Next Arabic" panose="020B0503030202020203" pitchFamily="34" charset="-78"/>
            </a:endParaRPr>
          </a:p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Ease of Access to Electricity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4F821F2-DA18-4B92-AB8B-DB591D0285E6}"/>
              </a:ext>
            </a:extLst>
          </p:cNvPr>
          <p:cNvSpPr txBox="1"/>
          <p:nvPr/>
        </p:nvSpPr>
        <p:spPr>
          <a:xfrm flipH="1">
            <a:off x="3035722" y="4639497"/>
            <a:ext cx="711095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3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rd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6947D825-0F3C-44F4-A583-3A50BCEB6662}"/>
              </a:ext>
            </a:extLst>
          </p:cNvPr>
          <p:cNvSpPr txBox="1"/>
          <p:nvPr/>
        </p:nvSpPr>
        <p:spPr>
          <a:xfrm flipH="1">
            <a:off x="3705246" y="4784392"/>
            <a:ext cx="2651195" cy="321729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Building Permits Index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41E3F18-368E-4F59-85F9-2F81530E279A}"/>
              </a:ext>
            </a:extLst>
          </p:cNvPr>
          <p:cNvSpPr txBox="1"/>
          <p:nvPr/>
        </p:nvSpPr>
        <p:spPr>
          <a:xfrm flipH="1">
            <a:off x="3035722" y="5298686"/>
            <a:ext cx="669524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9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th</a:t>
            </a:r>
            <a:endParaRPr lang="en-US" sz="3600" b="1" dirty="0">
              <a:ln w="0"/>
              <a:solidFill>
                <a:srgbClr val="3E3C43"/>
              </a:solidFill>
              <a:effectLst>
                <a:reflection blurRad="6350" stA="53000" endA="300" endPos="35500" dir="5400000" sy="-90000" algn="bl" rotWithShape="0"/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6744B53-7A2F-44A4-83A3-F5CCD08C8F25}"/>
              </a:ext>
            </a:extLst>
          </p:cNvPr>
          <p:cNvSpPr txBox="1"/>
          <p:nvPr/>
        </p:nvSpPr>
        <p:spPr>
          <a:xfrm flipH="1">
            <a:off x="3668285" y="5456263"/>
            <a:ext cx="3013075" cy="525462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Contract Enforcement Index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241E3F18-368E-4F59-85F9-2F81530E279A}"/>
              </a:ext>
            </a:extLst>
          </p:cNvPr>
          <p:cNvSpPr txBox="1"/>
          <p:nvPr/>
        </p:nvSpPr>
        <p:spPr>
          <a:xfrm flipH="1">
            <a:off x="2950657" y="5883728"/>
            <a:ext cx="904900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10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th</a:t>
            </a:r>
            <a:endParaRPr lang="en-US" sz="3600" b="1" dirty="0">
              <a:ln w="0"/>
              <a:solidFill>
                <a:srgbClr val="3E3C43"/>
              </a:solidFill>
              <a:effectLst>
                <a:reflection blurRad="6350" stA="53000" endA="300" endPos="35500" dir="5400000" sy="-90000" algn="bl" rotWithShape="0"/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6744B53-7A2F-44A4-83A3-F5CCD08C8F25}"/>
              </a:ext>
            </a:extLst>
          </p:cNvPr>
          <p:cNvSpPr txBox="1"/>
          <p:nvPr/>
        </p:nvSpPr>
        <p:spPr>
          <a:xfrm flipH="1">
            <a:off x="3734577" y="5981080"/>
            <a:ext cx="3013075" cy="525462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roperty Registration Index</a:t>
            </a:r>
          </a:p>
        </p:txBody>
      </p:sp>
    </p:spTree>
    <p:extLst>
      <p:ext uri="{BB962C8B-B14F-4D97-AF65-F5344CB8AC3E}">
        <p14:creationId xmlns:p14="http://schemas.microsoft.com/office/powerpoint/2010/main" val="1920763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1" y="1155760"/>
            <a:ext cx="70673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Global &amp; Regional Business Rankings 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532971" y="2818148"/>
            <a:ext cx="2338846" cy="3461588"/>
            <a:chOff x="224421" y="1906917"/>
            <a:chExt cx="3004916" cy="3960828"/>
          </a:xfrm>
        </p:grpSpPr>
        <p:sp>
          <p:nvSpPr>
            <p:cNvPr id="66" name="TextBox 21"/>
            <p:cNvSpPr txBox="1">
              <a:spLocks noChangeArrowheads="1"/>
            </p:cNvSpPr>
            <p:nvPr/>
          </p:nvSpPr>
          <p:spPr bwMode="auto">
            <a:xfrm>
              <a:off x="532347" y="5198632"/>
              <a:ext cx="2389064" cy="669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rtl="1"/>
              <a:r>
                <a:rPr lang="en-US" sz="3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/>
                  <a:ea typeface="GE SS Two Light" panose="020A0503020102020204" pitchFamily="18" charset="-78"/>
                  <a:cs typeface="Univers Next Arabic" panose="020B0503030202020203" pitchFamily="34" charset="-78"/>
                </a:rPr>
                <a:t>Globally</a:t>
              </a: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421" y="1906917"/>
              <a:ext cx="3004916" cy="3120490"/>
            </a:xfrm>
            <a:prstGeom prst="rect">
              <a:avLst/>
            </a:prstGeom>
          </p:spPr>
        </p:pic>
        <p:sp>
          <p:nvSpPr>
            <p:cNvPr id="71" name="TextBox 70"/>
            <p:cNvSpPr txBox="1">
              <a:spLocks noChangeArrowheads="1"/>
            </p:cNvSpPr>
            <p:nvPr/>
          </p:nvSpPr>
          <p:spPr bwMode="auto">
            <a:xfrm flipH="1">
              <a:off x="1044653" y="2228107"/>
              <a:ext cx="1364454" cy="1056495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5400" dirty="0">
                  <a:solidFill>
                    <a:srgbClr val="3E3C43"/>
                  </a:solidFill>
                  <a:latin typeface="Calibri" panose="020F0502020204030204"/>
                  <a:ea typeface="GE SS Two Light" panose="020A0503020102020204" pitchFamily="18" charset="-78"/>
                  <a:cs typeface="Univers Next Arabic" panose="020B0503030202020203" pitchFamily="34" charset="-78"/>
                </a:rPr>
                <a:t>9</a:t>
              </a:r>
            </a:p>
          </p:txBody>
        </p:sp>
      </p:grpSp>
      <p:sp>
        <p:nvSpPr>
          <p:cNvPr id="73" name="TextBox 72"/>
          <p:cNvSpPr txBox="1"/>
          <p:nvPr/>
        </p:nvSpPr>
        <p:spPr>
          <a:xfrm>
            <a:off x="455584" y="1993095"/>
            <a:ext cx="5540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IMD World Competitiveness Ranking - 2020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13AC0856-56F8-4575-9153-2DD7DB2AD3AA}"/>
              </a:ext>
            </a:extLst>
          </p:cNvPr>
          <p:cNvSpPr txBox="1"/>
          <p:nvPr/>
        </p:nvSpPr>
        <p:spPr>
          <a:xfrm flipH="1">
            <a:off x="2891314" y="3070142"/>
            <a:ext cx="605659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3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rd</a:t>
            </a:r>
            <a:endParaRPr lang="en-US" sz="3600" b="1" dirty="0">
              <a:ln w="0"/>
              <a:solidFill>
                <a:srgbClr val="3E3C43"/>
              </a:solidFill>
              <a:effectLst>
                <a:reflection blurRad="6350" stA="53000" endA="300" endPos="35500" dir="5400000" sy="-90000" algn="bl" rotWithShape="0"/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18D935B-A751-437D-955F-33B81AE599C5}"/>
              </a:ext>
            </a:extLst>
          </p:cNvPr>
          <p:cNvSpPr txBox="1"/>
          <p:nvPr/>
        </p:nvSpPr>
        <p:spPr>
          <a:xfrm flipH="1">
            <a:off x="3496973" y="3242536"/>
            <a:ext cx="2326442" cy="404812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Government Efficiency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4F821F2-DA18-4B92-AB8B-DB591D0285E6}"/>
              </a:ext>
            </a:extLst>
          </p:cNvPr>
          <p:cNvSpPr txBox="1"/>
          <p:nvPr/>
        </p:nvSpPr>
        <p:spPr>
          <a:xfrm flipH="1">
            <a:off x="2891314" y="3722438"/>
            <a:ext cx="711095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4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th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947D825-0F3C-44F4-A583-3A50BCEB6662}"/>
              </a:ext>
            </a:extLst>
          </p:cNvPr>
          <p:cNvSpPr txBox="1"/>
          <p:nvPr/>
        </p:nvSpPr>
        <p:spPr>
          <a:xfrm flipH="1">
            <a:off x="3496973" y="3844489"/>
            <a:ext cx="2651195" cy="321729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Economic Performanc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41E3F18-368E-4F59-85F9-2F81530E279A}"/>
              </a:ext>
            </a:extLst>
          </p:cNvPr>
          <p:cNvSpPr txBox="1"/>
          <p:nvPr/>
        </p:nvSpPr>
        <p:spPr>
          <a:xfrm flipH="1">
            <a:off x="2891314" y="4381627"/>
            <a:ext cx="669524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7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th</a:t>
            </a:r>
            <a:endParaRPr lang="en-US" sz="3600" b="1" dirty="0">
              <a:ln w="0"/>
              <a:solidFill>
                <a:srgbClr val="3E3C43"/>
              </a:solidFill>
              <a:effectLst>
                <a:reflection blurRad="6350" stA="53000" endA="300" endPos="35500" dir="5400000" sy="-90000" algn="bl" rotWithShape="0"/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6744B53-7A2F-44A4-83A3-F5CCD08C8F25}"/>
              </a:ext>
            </a:extLst>
          </p:cNvPr>
          <p:cNvSpPr txBox="1"/>
          <p:nvPr/>
        </p:nvSpPr>
        <p:spPr>
          <a:xfrm flipH="1">
            <a:off x="3518616" y="4515354"/>
            <a:ext cx="3013075" cy="525462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Business Efficiency</a:t>
            </a:r>
          </a:p>
        </p:txBody>
      </p:sp>
      <p:grpSp>
        <p:nvGrpSpPr>
          <p:cNvPr id="80" name="Group 79"/>
          <p:cNvGrpSpPr/>
          <p:nvPr/>
        </p:nvGrpSpPr>
        <p:grpSpPr>
          <a:xfrm rot="5400000">
            <a:off x="3731438" y="4356922"/>
            <a:ext cx="4754877" cy="45719"/>
            <a:chOff x="7001699" y="3148901"/>
            <a:chExt cx="4194767" cy="11431"/>
          </a:xfrm>
        </p:grpSpPr>
        <p:sp>
          <p:nvSpPr>
            <p:cNvPr id="81" name="Shape 1036"/>
            <p:cNvSpPr/>
            <p:nvPr/>
          </p:nvSpPr>
          <p:spPr>
            <a:xfrm>
              <a:off x="7001699" y="3148901"/>
              <a:ext cx="1085850" cy="1"/>
            </a:xfrm>
            <a:prstGeom prst="line">
              <a:avLst/>
            </a:prstGeom>
            <a:noFill/>
            <a:ln w="25400" cap="flat">
              <a:solidFill>
                <a:srgbClr val="AF884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solidFill>
                  <a:srgbClr val="656D78"/>
                </a:solidFill>
                <a:latin typeface="Calibri" panose="020F0502020204030204"/>
              </a:endParaRPr>
            </a:p>
          </p:txBody>
        </p:sp>
        <p:sp>
          <p:nvSpPr>
            <p:cNvPr id="82" name="Shape 1037"/>
            <p:cNvSpPr/>
            <p:nvPr/>
          </p:nvSpPr>
          <p:spPr>
            <a:xfrm>
              <a:off x="7001699" y="3160332"/>
              <a:ext cx="4194767" cy="0"/>
            </a:xfrm>
            <a:prstGeom prst="line">
              <a:avLst/>
            </a:prstGeom>
            <a:noFill/>
            <a:ln w="9525" cap="flat">
              <a:solidFill>
                <a:srgbClr val="AF884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>
                <a:solidFill>
                  <a:srgbClr val="656D78"/>
                </a:solidFill>
                <a:latin typeface="Calibri" panose="020F0502020204030204"/>
              </a:endParaRPr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6384762" y="1999438"/>
            <a:ext cx="5380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IMD World Digital Competitiveness Ranking 2019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3AC0856-56F8-4575-9153-2DD7DB2AD3AA}"/>
              </a:ext>
            </a:extLst>
          </p:cNvPr>
          <p:cNvSpPr txBox="1"/>
          <p:nvPr/>
        </p:nvSpPr>
        <p:spPr>
          <a:xfrm flipH="1">
            <a:off x="8584785" y="3070142"/>
            <a:ext cx="605659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1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st</a:t>
            </a:r>
            <a:endParaRPr lang="en-US" sz="3600" b="1" dirty="0">
              <a:ln w="0"/>
              <a:solidFill>
                <a:srgbClr val="3E3C43"/>
              </a:solidFill>
              <a:effectLst>
                <a:reflection blurRad="6350" stA="53000" endA="300" endPos="35500" dir="5400000" sy="-90000" algn="bl" rotWithShape="0"/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9037615" y="3126434"/>
            <a:ext cx="27089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ublic-private partnerships</a:t>
            </a:r>
          </a:p>
        </p:txBody>
      </p:sp>
      <p:sp>
        <p:nvSpPr>
          <p:cNvPr id="86" name="Rectangle 85"/>
          <p:cNvSpPr/>
          <p:nvPr/>
        </p:nvSpPr>
        <p:spPr>
          <a:xfrm>
            <a:off x="9037766" y="3527436"/>
            <a:ext cx="25127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International experience</a:t>
            </a:r>
          </a:p>
        </p:txBody>
      </p:sp>
      <p:sp>
        <p:nvSpPr>
          <p:cNvPr id="87" name="Rectangle 86"/>
          <p:cNvSpPr/>
          <p:nvPr/>
        </p:nvSpPr>
        <p:spPr>
          <a:xfrm>
            <a:off x="9037615" y="3899424"/>
            <a:ext cx="21530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gility of companies</a:t>
            </a:r>
          </a:p>
        </p:txBody>
      </p:sp>
      <p:sp>
        <p:nvSpPr>
          <p:cNvPr id="88" name="Rectangle 87"/>
          <p:cNvSpPr/>
          <p:nvPr/>
        </p:nvSpPr>
        <p:spPr>
          <a:xfrm>
            <a:off x="9037615" y="4284520"/>
            <a:ext cx="28470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Use of big data and analytic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4F821F2-DA18-4B92-AB8B-DB591D0285E6}"/>
              </a:ext>
            </a:extLst>
          </p:cNvPr>
          <p:cNvSpPr txBox="1"/>
          <p:nvPr/>
        </p:nvSpPr>
        <p:spPr>
          <a:xfrm flipH="1">
            <a:off x="8660695" y="4850075"/>
            <a:ext cx="711095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3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rd</a:t>
            </a: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 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9266354" y="4955848"/>
            <a:ext cx="228415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Management of cities</a:t>
            </a:r>
          </a:p>
        </p:txBody>
      </p:sp>
      <p:grpSp>
        <p:nvGrpSpPr>
          <p:cNvPr id="91" name="Group 90"/>
          <p:cNvGrpSpPr/>
          <p:nvPr/>
        </p:nvGrpSpPr>
        <p:grpSpPr>
          <a:xfrm>
            <a:off x="6206976" y="2869076"/>
            <a:ext cx="2338846" cy="3410660"/>
            <a:chOff x="224421" y="1906917"/>
            <a:chExt cx="3004916" cy="3902555"/>
          </a:xfrm>
        </p:grpSpPr>
        <p:sp>
          <p:nvSpPr>
            <p:cNvPr id="92" name="TextBox 21"/>
            <p:cNvSpPr txBox="1">
              <a:spLocks noChangeArrowheads="1"/>
            </p:cNvSpPr>
            <p:nvPr/>
          </p:nvSpPr>
          <p:spPr bwMode="auto">
            <a:xfrm>
              <a:off x="826818" y="5140359"/>
              <a:ext cx="2389064" cy="669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rtl="1"/>
              <a:r>
                <a:rPr lang="en-US" sz="3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/>
                  <a:ea typeface="GE SS Two Light" panose="020A0503020102020204" pitchFamily="18" charset="-78"/>
                  <a:cs typeface="Univers Next Arabic" panose="020B0503030202020203" pitchFamily="34" charset="-78"/>
                </a:rPr>
                <a:t>Globally</a:t>
              </a: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421" y="1906917"/>
              <a:ext cx="3004916" cy="3120490"/>
            </a:xfrm>
            <a:prstGeom prst="rect">
              <a:avLst/>
            </a:prstGeom>
          </p:spPr>
        </p:pic>
        <p:sp>
          <p:nvSpPr>
            <p:cNvPr id="94" name="TextBox 93"/>
            <p:cNvSpPr txBox="1">
              <a:spLocks noChangeArrowheads="1"/>
            </p:cNvSpPr>
            <p:nvPr/>
          </p:nvSpPr>
          <p:spPr bwMode="auto">
            <a:xfrm flipH="1">
              <a:off x="991979" y="2201392"/>
              <a:ext cx="1364454" cy="1056495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5400" dirty="0">
                  <a:solidFill>
                    <a:srgbClr val="3E3C43"/>
                  </a:solidFill>
                  <a:latin typeface="Calibri" panose="020F0502020204030204"/>
                  <a:ea typeface="GE SS Two Light" panose="020A0503020102020204" pitchFamily="18" charset="-78"/>
                  <a:cs typeface="Univers Next Arabic" panose="020B0503030202020203" pitchFamily="34" charset="-78"/>
                </a:rPr>
                <a:t>1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13507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1" y="1155760"/>
            <a:ext cx="70673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Global &amp; Regional Business Rankings </a:t>
            </a:r>
          </a:p>
        </p:txBody>
      </p:sp>
      <p:sp>
        <p:nvSpPr>
          <p:cNvPr id="64" name="Slide Number Placeholder 3"/>
          <p:cNvSpPr txBox="1">
            <a:spLocks/>
          </p:cNvSpPr>
          <p:nvPr/>
        </p:nvSpPr>
        <p:spPr>
          <a:xfrm flipH="1">
            <a:off x="11891477" y="6528307"/>
            <a:ext cx="577770" cy="4032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bg1"/>
                </a:solidFill>
                <a:latin typeface="Univers Next Arabic" panose="020B0503030202020203" pitchFamily="34" charset="-78"/>
                <a:ea typeface="+mn-ea"/>
                <a:cs typeface="Univers Next Arabic" panose="020B0503030202020203" pitchFamily="34" charset="-7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B119BD-BB28-4F00-BA08-3CD2300E0933}" type="slidenum">
              <a:rPr lang="en-US" smtClean="0">
                <a:solidFill>
                  <a:srgbClr val="FFFFFF"/>
                </a:solidFill>
                <a:latin typeface="Calibri" panose="020F0502020204030204"/>
              </a:rPr>
              <a:pPr/>
              <a:t>23</a:t>
            </a:fld>
            <a:endParaRPr lang="en-US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1394C91-4F9E-4908-A870-93FBE35DFF2B}"/>
              </a:ext>
            </a:extLst>
          </p:cNvPr>
          <p:cNvSpPr txBox="1"/>
          <p:nvPr/>
        </p:nvSpPr>
        <p:spPr>
          <a:xfrm flipH="1">
            <a:off x="3841627" y="2968560"/>
            <a:ext cx="605659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1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st</a:t>
            </a:r>
            <a:endParaRPr lang="en-US" sz="3600" b="1" dirty="0">
              <a:ln w="0"/>
              <a:solidFill>
                <a:srgbClr val="3E3C43"/>
              </a:solidFill>
              <a:effectLst>
                <a:reflection blurRad="6350" stA="53000" endA="300" endPos="35500" dir="5400000" sy="-90000" algn="bl" rotWithShape="0"/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AE5C1C3-0E37-4FBE-9598-A21E51A3BB85}"/>
              </a:ext>
            </a:extLst>
          </p:cNvPr>
          <p:cNvSpPr txBox="1"/>
          <p:nvPr/>
        </p:nvSpPr>
        <p:spPr>
          <a:xfrm flipH="1">
            <a:off x="4435991" y="2968560"/>
            <a:ext cx="3376780" cy="341531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Macroeconomic stability index.</a:t>
            </a:r>
          </a:p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Electricity rate indicator.</a:t>
            </a:r>
          </a:p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Mobile phone index / 100.</a:t>
            </a:r>
          </a:p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Debt dynamics index.</a:t>
            </a:r>
          </a:p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Annual inflation percentage indicator.</a:t>
            </a: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>
              <a:buClr>
                <a:srgbClr val="3E3C43"/>
              </a:buClr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532971" y="2624672"/>
            <a:ext cx="3004916" cy="3876490"/>
            <a:chOff x="224421" y="1906917"/>
            <a:chExt cx="3004916" cy="3876490"/>
          </a:xfrm>
        </p:grpSpPr>
        <p:sp>
          <p:nvSpPr>
            <p:cNvPr id="72" name="TextBox 21"/>
            <p:cNvSpPr txBox="1">
              <a:spLocks noChangeArrowheads="1"/>
            </p:cNvSpPr>
            <p:nvPr/>
          </p:nvSpPr>
          <p:spPr bwMode="auto">
            <a:xfrm>
              <a:off x="528481" y="5198632"/>
              <a:ext cx="2389064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rtl="1"/>
              <a:r>
                <a:rPr lang="en-US" sz="3200" dirty="0">
                  <a:solidFill>
                    <a:schemeClr val="tx1">
                      <a:lumMod val="50000"/>
                    </a:schemeClr>
                  </a:solidFill>
                  <a:latin typeface="Calibri" panose="020F0502020204030204"/>
                  <a:ea typeface="GE SS Two Light" panose="020A0503020102020204" pitchFamily="18" charset="-78"/>
                  <a:cs typeface="Univers Next Arabic" panose="020B0503030202020203" pitchFamily="34" charset="-78"/>
                </a:rPr>
                <a:t>Globally</a:t>
              </a:r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421" y="1906917"/>
              <a:ext cx="3004916" cy="3120490"/>
            </a:xfrm>
            <a:prstGeom prst="rect">
              <a:avLst/>
            </a:prstGeom>
          </p:spPr>
        </p:pic>
        <p:sp>
          <p:nvSpPr>
            <p:cNvPr id="74" name="TextBox 73"/>
            <p:cNvSpPr txBox="1">
              <a:spLocks noChangeArrowheads="1"/>
            </p:cNvSpPr>
            <p:nvPr/>
          </p:nvSpPr>
          <p:spPr bwMode="auto">
            <a:xfrm flipH="1">
              <a:off x="1040786" y="2251507"/>
              <a:ext cx="1364454" cy="92333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sz="5400" dirty="0">
                  <a:solidFill>
                    <a:srgbClr val="3E3C43"/>
                  </a:solidFill>
                  <a:latin typeface="Calibri" panose="020F0502020204030204"/>
                  <a:ea typeface="GE SS Two Light" panose="020A0503020102020204" pitchFamily="18" charset="-78"/>
                  <a:cs typeface="Univers Next Arabic" panose="020B0503030202020203" pitchFamily="34" charset="-78"/>
                </a:rPr>
                <a:t>25</a:t>
              </a:r>
            </a:p>
          </p:txBody>
        </p:sp>
      </p:grpSp>
      <p:sp>
        <p:nvSpPr>
          <p:cNvPr id="76" name="TextBox 75"/>
          <p:cNvSpPr txBox="1"/>
          <p:nvPr/>
        </p:nvSpPr>
        <p:spPr>
          <a:xfrm>
            <a:off x="514596" y="1851243"/>
            <a:ext cx="79555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B98D36"/>
              </a:buClr>
              <a:tabLst>
                <a:tab pos="360000" algn="l"/>
              </a:tabLst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UAE Ranking in Global Competitiveness Index (WEF) in 2019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8598A94-73AC-4775-8946-67D0ACBC4B9E}"/>
              </a:ext>
            </a:extLst>
          </p:cNvPr>
          <p:cNvSpPr txBox="1"/>
          <p:nvPr/>
        </p:nvSpPr>
        <p:spPr>
          <a:xfrm flipH="1">
            <a:off x="3803968" y="4554045"/>
            <a:ext cx="768911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2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nd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AE5C1C3-0E37-4FBE-9598-A21E51A3BB85}"/>
              </a:ext>
            </a:extLst>
          </p:cNvPr>
          <p:cNvSpPr txBox="1"/>
          <p:nvPr/>
        </p:nvSpPr>
        <p:spPr>
          <a:xfrm flipH="1">
            <a:off x="4435991" y="4762614"/>
            <a:ext cx="3376780" cy="341531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Information and Communications Technology Accreditation Index.</a:t>
            </a:r>
          </a:p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Mobile Cellular Subscriptions Index.</a:t>
            </a:r>
          </a:p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Population Conductivity Index,%.</a:t>
            </a:r>
          </a:p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Workforce diversity index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cs typeface="Univers Next Arabic" panose="020B0503030202020203" pitchFamily="34" charset="-78"/>
              </a:rPr>
              <a:t>.</a:t>
            </a:r>
          </a:p>
          <a:p>
            <a:pPr>
              <a:buClr>
                <a:srgbClr val="3E3C43"/>
              </a:buClr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8598A94-73AC-4775-8946-67D0ACBC4B9E}"/>
              </a:ext>
            </a:extLst>
          </p:cNvPr>
          <p:cNvSpPr txBox="1"/>
          <p:nvPr/>
        </p:nvSpPr>
        <p:spPr>
          <a:xfrm flipH="1">
            <a:off x="8284139" y="2968560"/>
            <a:ext cx="768911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3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rd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6744B53-7A2F-44A4-83A3-F5CCD08C8F25}"/>
              </a:ext>
            </a:extLst>
          </p:cNvPr>
          <p:cNvSpPr txBox="1"/>
          <p:nvPr/>
        </p:nvSpPr>
        <p:spPr>
          <a:xfrm flipH="1">
            <a:off x="9020513" y="2968560"/>
            <a:ext cx="3013075" cy="525462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Government’s Efficiency in Responding to Change</a:t>
            </a:r>
          </a:p>
        </p:txBody>
      </p:sp>
    </p:spTree>
    <p:extLst>
      <p:ext uri="{BB962C8B-B14F-4D97-AF65-F5344CB8AC3E}">
        <p14:creationId xmlns:p14="http://schemas.microsoft.com/office/powerpoint/2010/main" val="3741880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1" y="1155760"/>
            <a:ext cx="70673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Global &amp; Regional Business Ranking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E5C1C3-0E37-4FBE-9598-A21E51A3BB85}"/>
              </a:ext>
            </a:extLst>
          </p:cNvPr>
          <p:cNvSpPr txBox="1"/>
          <p:nvPr/>
        </p:nvSpPr>
        <p:spPr>
          <a:xfrm flipH="1">
            <a:off x="3191395" y="3104219"/>
            <a:ext cx="3376780" cy="341531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In Commodity Exports</a:t>
            </a: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>
              <a:buClr>
                <a:srgbClr val="3E3C43"/>
              </a:buClr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32971" y="1707865"/>
            <a:ext cx="800131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B98D36"/>
              </a:buClr>
              <a:tabLst>
                <a:tab pos="360000" algn="l"/>
              </a:tabLst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UAE Ranking in World Trade Report (WTO) – April 2020</a:t>
            </a:r>
          </a:p>
          <a:p>
            <a:r>
              <a:rPr lang="en-US" sz="2000" dirty="0">
                <a:solidFill>
                  <a:srgbClr val="656D78">
                    <a:lumMod val="75000"/>
                  </a:srgb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598A94-73AC-4775-8946-67D0ACBC4B9E}"/>
              </a:ext>
            </a:extLst>
          </p:cNvPr>
          <p:cNvSpPr txBox="1"/>
          <p:nvPr/>
        </p:nvSpPr>
        <p:spPr>
          <a:xfrm flipH="1">
            <a:off x="2338433" y="4492523"/>
            <a:ext cx="879937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20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th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E5C1C3-0E37-4FBE-9598-A21E51A3BB85}"/>
              </a:ext>
            </a:extLst>
          </p:cNvPr>
          <p:cNvSpPr txBox="1"/>
          <p:nvPr/>
        </p:nvSpPr>
        <p:spPr>
          <a:xfrm flipH="1">
            <a:off x="3180099" y="4701092"/>
            <a:ext cx="3376780" cy="341531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In Commodity Imports</a:t>
            </a: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  <a:p>
            <a:pPr marL="257175" indent="-257175">
              <a:buClr>
                <a:srgbClr val="3E3C43"/>
              </a:buClr>
              <a:buFont typeface="Wingdings" panose="05000000000000000000" pitchFamily="2" charset="2"/>
              <a:buChar char="ü"/>
              <a:defRPr/>
            </a:pPr>
            <a:endParaRPr lang="en-US" sz="1600" dirty="0">
              <a:solidFill>
                <a:srgbClr val="595959"/>
              </a:solidFill>
              <a:latin typeface="Calibri" panose="020F0502020204030204"/>
              <a:cs typeface="Univers Next Arabic" panose="020B0503030202020203" pitchFamily="34" charset="-7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598A94-73AC-4775-8946-67D0ACBC4B9E}"/>
              </a:ext>
            </a:extLst>
          </p:cNvPr>
          <p:cNvSpPr txBox="1"/>
          <p:nvPr/>
        </p:nvSpPr>
        <p:spPr>
          <a:xfrm flipH="1">
            <a:off x="6978907" y="2899004"/>
            <a:ext cx="961934" cy="625049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23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rd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744B53-7A2F-44A4-83A3-F5CCD08C8F25}"/>
              </a:ext>
            </a:extLst>
          </p:cNvPr>
          <p:cNvSpPr txBox="1"/>
          <p:nvPr/>
        </p:nvSpPr>
        <p:spPr>
          <a:xfrm flipH="1">
            <a:off x="7797158" y="3077804"/>
            <a:ext cx="3013075" cy="525462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In Service Export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92106" y="2019149"/>
            <a:ext cx="73487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Calibri" panose="020F0502020204030204"/>
                <a:ea typeface="Roboto" pitchFamily="2" charset="0"/>
                <a:cs typeface="Univers Next Arabic" panose="020B0503030202020203" pitchFamily="34" charset="-78"/>
              </a:rPr>
              <a:t>World Trade Organiz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598A94-73AC-4775-8946-67D0ACBC4B9E}"/>
              </a:ext>
            </a:extLst>
          </p:cNvPr>
          <p:cNvSpPr txBox="1"/>
          <p:nvPr/>
        </p:nvSpPr>
        <p:spPr>
          <a:xfrm flipH="1">
            <a:off x="7028247" y="4505868"/>
            <a:ext cx="768911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21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st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744B53-7A2F-44A4-83A3-F5CCD08C8F25}"/>
              </a:ext>
            </a:extLst>
          </p:cNvPr>
          <p:cNvSpPr txBox="1"/>
          <p:nvPr/>
        </p:nvSpPr>
        <p:spPr>
          <a:xfrm flipH="1">
            <a:off x="7797158" y="4605455"/>
            <a:ext cx="3013075" cy="525462"/>
          </a:xfrm>
          <a:prstGeom prst="rect">
            <a:avLst/>
          </a:prstGeom>
          <a:noFill/>
        </p:spPr>
        <p:txBody>
          <a:bodyPr lIns="0" tIns="0" rIns="68565" bIns="0"/>
          <a:lstStyle/>
          <a:p>
            <a:pPr marL="285750" indent="-285750" algn="just">
              <a:spcBef>
                <a:spcPct val="20000"/>
              </a:spcBef>
              <a:buClr>
                <a:srgbClr val="B98D36"/>
              </a:buClr>
              <a:buFont typeface="Wingdings" panose="05000000000000000000" pitchFamily="2" charset="2"/>
              <a:buChar char="ü"/>
              <a:tabLst>
                <a:tab pos="360000" algn="l"/>
              </a:tabLst>
              <a:defRPr/>
            </a:pPr>
            <a:r>
              <a:rPr lang="en-US" sz="1600" dirty="0">
                <a:solidFill>
                  <a:srgbClr val="656D78">
                    <a:lumMod val="50000"/>
                  </a:srgbClr>
                </a:solidFill>
                <a:latin typeface="Calibri" panose="020F0502020204030204"/>
                <a:ea typeface="Roboto Light" pitchFamily="2" charset="0"/>
                <a:cs typeface="Univers Next Arabic" panose="020B0503030202020203" pitchFamily="34" charset="-78"/>
              </a:rPr>
              <a:t>In Service Impor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8598A94-73AC-4775-8946-67D0ACBC4B9E}"/>
              </a:ext>
            </a:extLst>
          </p:cNvPr>
          <p:cNvSpPr txBox="1"/>
          <p:nvPr/>
        </p:nvSpPr>
        <p:spPr>
          <a:xfrm flipH="1">
            <a:off x="2342301" y="2921751"/>
            <a:ext cx="879937" cy="550100"/>
          </a:xfrm>
          <a:prstGeom prst="rect">
            <a:avLst/>
          </a:prstGeom>
          <a:noFill/>
        </p:spPr>
        <p:txBody>
          <a:bodyPr lIns="0" tIns="0" rIns="68565" bIns="0" anchor="ctr"/>
          <a:lstStyle/>
          <a:p>
            <a:pPr>
              <a:defRPr/>
            </a:pPr>
            <a:r>
              <a:rPr lang="en-US" sz="3600" b="1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20</a:t>
            </a:r>
            <a:r>
              <a:rPr lang="en-US" sz="3600" b="1" baseline="30000" dirty="0">
                <a:ln w="0"/>
                <a:solidFill>
                  <a:srgbClr val="3E3C43"/>
                </a:solidFill>
                <a:effectLst>
                  <a:reflection blurRad="6350" stA="53000" endA="300" endPos="35500" dir="5400000" sy="-90000" algn="bl" rotWithShape="0"/>
                </a:effectLst>
                <a:latin typeface="Calibri" panose="020F0502020204030204"/>
                <a:ea typeface="Roboto Black" panose="02000000000000000000" pitchFamily="2" charset="0"/>
                <a:cs typeface="Univers Next Arabic" panose="020B0503030202020203" pitchFamily="34" charset="-78"/>
              </a:rPr>
              <a:t>th</a:t>
            </a:r>
            <a:endParaRPr lang="en-US" sz="3600" b="1" dirty="0">
              <a:ln w="0"/>
              <a:solidFill>
                <a:srgbClr val="3E3C4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alibri" panose="020F0502020204030204"/>
              <a:ea typeface="Roboto Black" panose="02000000000000000000" pitchFamily="2" charset="0"/>
              <a:cs typeface="Univers Next Arabic" panose="020B0503030202020203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5803325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7">
            <a:extLst>
              <a:ext uri="{FF2B5EF4-FFF2-40B4-BE49-F238E27FC236}">
                <a16:creationId xmlns:a16="http://schemas.microsoft.com/office/drawing/2014/main" id="{D723ED60-F8EB-43FD-A66A-C616BC10114F}"/>
              </a:ext>
            </a:extLst>
          </p:cNvPr>
          <p:cNvSpPr txBox="1"/>
          <p:nvPr/>
        </p:nvSpPr>
        <p:spPr>
          <a:xfrm>
            <a:off x="848884" y="2518846"/>
            <a:ext cx="105554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en-US" sz="5400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2569" cy="1077447"/>
          </a:xfrm>
          <a:prstGeom prst="rect">
            <a:avLst/>
          </a:prstGeom>
        </p:spPr>
      </p:pic>
      <p:pic>
        <p:nvPicPr>
          <p:cNvPr id="8" name="رسم 24">
            <a:extLst>
              <a:ext uri="{FF2B5EF4-FFF2-40B4-BE49-F238E27FC236}">
                <a16:creationId xmlns:a16="http://schemas.microsoft.com/office/drawing/2014/main" id="{ADE8040D-62CF-4B78-A1EE-974F69C614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4426586"/>
            <a:ext cx="7389860" cy="2431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79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1ED846D-DBB6-42E3-A5C3-F385E3D735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20645" y="2133601"/>
            <a:ext cx="8750709" cy="2428568"/>
          </a:xfrm>
        </p:spPr>
        <p:txBody>
          <a:bodyPr>
            <a:noAutofit/>
          </a:bodyPr>
          <a:lstStyle/>
          <a:p>
            <a:r>
              <a:rPr lang="en-US" sz="5400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Economy</a:t>
            </a:r>
            <a:endParaRPr lang="ar-AE" sz="5400" dirty="0">
              <a:solidFill>
                <a:srgbClr val="AD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2569" cy="107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93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15007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AD833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UAE Economy</a:t>
            </a:r>
          </a:p>
        </p:txBody>
      </p:sp>
      <p:graphicFrame>
        <p:nvGraphicFramePr>
          <p:cNvPr id="32" name="Chart 31"/>
          <p:cNvGraphicFramePr/>
          <p:nvPr>
            <p:extLst>
              <p:ext uri="{D42A27DB-BD31-4B8C-83A1-F6EECF244321}">
                <p14:modId xmlns:p14="http://schemas.microsoft.com/office/powerpoint/2010/main" val="2216686702"/>
              </p:ext>
            </p:extLst>
          </p:nvPr>
        </p:nvGraphicFramePr>
        <p:xfrm>
          <a:off x="4662525" y="4594464"/>
          <a:ext cx="2305096" cy="519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Slide Number Placeholder 36"/>
          <p:cNvSpPr txBox="1">
            <a:spLocks/>
          </p:cNvSpPr>
          <p:nvPr/>
        </p:nvSpPr>
        <p:spPr>
          <a:xfrm flipH="1">
            <a:off x="11622256" y="6213433"/>
            <a:ext cx="577770" cy="4032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bg1"/>
                </a:solidFill>
                <a:latin typeface="Univers Next Arabic" panose="020B0503030202020203" pitchFamily="34" charset="-78"/>
                <a:ea typeface="+mn-ea"/>
                <a:cs typeface="Univers Next Arabic" panose="020B0503030202020203" pitchFamily="34" charset="-7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B119BD-BB28-4F00-BA08-3CD2300E0933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36121" y="1963422"/>
            <a:ext cx="3101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Real GDP &amp; Diversification </a:t>
            </a:r>
          </a:p>
        </p:txBody>
      </p:sp>
      <p:sp>
        <p:nvSpPr>
          <p:cNvPr id="37" name="Freeform 36"/>
          <p:cNvSpPr/>
          <p:nvPr/>
        </p:nvSpPr>
        <p:spPr>
          <a:xfrm flipH="1">
            <a:off x="4901242" y="5102446"/>
            <a:ext cx="1993299" cy="1581564"/>
          </a:xfrm>
          <a:custGeom>
            <a:avLst/>
            <a:gdLst>
              <a:gd name="connsiteX0" fmla="*/ 971830 w 2671591"/>
              <a:gd name="connsiteY0" fmla="*/ 311 h 2234714"/>
              <a:gd name="connsiteX1" fmla="*/ 1658132 w 2671591"/>
              <a:gd name="connsiteY1" fmla="*/ 121674 h 2234714"/>
              <a:gd name="connsiteX2" fmla="*/ 2391482 w 2671591"/>
              <a:gd name="connsiteY2" fmla="*/ 570869 h 2234714"/>
              <a:gd name="connsiteX3" fmla="*/ 2671591 w 2671591"/>
              <a:gd name="connsiteY3" fmla="*/ 1127080 h 2234714"/>
              <a:gd name="connsiteX4" fmla="*/ 2398520 w 2671591"/>
              <a:gd name="connsiteY4" fmla="*/ 1555152 h 2234714"/>
              <a:gd name="connsiteX5" fmla="*/ 1656724 w 2671591"/>
              <a:gd name="connsiteY5" fmla="*/ 2040957 h 2234714"/>
              <a:gd name="connsiteX6" fmla="*/ 436351 w 2671591"/>
              <a:gd name="connsiteY6" fmla="*/ 2146567 h 2234714"/>
              <a:gd name="connsiteX7" fmla="*/ 0 w 2671591"/>
              <a:gd name="connsiteY7" fmla="*/ 1127080 h 2234714"/>
              <a:gd name="connsiteX8" fmla="*/ 453241 w 2671591"/>
              <a:gd name="connsiteY8" fmla="*/ 130123 h 2234714"/>
              <a:gd name="connsiteX9" fmla="*/ 971830 w 2671591"/>
              <a:gd name="connsiteY9" fmla="*/ 311 h 2234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71591" h="2234714">
                <a:moveTo>
                  <a:pt x="971830" y="311"/>
                </a:moveTo>
                <a:cubicBezTo>
                  <a:pt x="1208558" y="-4512"/>
                  <a:pt x="1452273" y="47220"/>
                  <a:pt x="1658132" y="121674"/>
                </a:cubicBezTo>
                <a:cubicBezTo>
                  <a:pt x="1922757" y="217427"/>
                  <a:pt x="2191606" y="370914"/>
                  <a:pt x="2391482" y="570869"/>
                </a:cubicBezTo>
                <a:cubicBezTo>
                  <a:pt x="2536463" y="715906"/>
                  <a:pt x="2671591" y="914452"/>
                  <a:pt x="2671591" y="1127080"/>
                </a:cubicBezTo>
                <a:cubicBezTo>
                  <a:pt x="2671591" y="1267893"/>
                  <a:pt x="2492828" y="1465031"/>
                  <a:pt x="2398520" y="1555152"/>
                </a:cubicBezTo>
                <a:cubicBezTo>
                  <a:pt x="2188790" y="1755106"/>
                  <a:pt x="1919942" y="1922674"/>
                  <a:pt x="1656724" y="2040957"/>
                </a:cubicBezTo>
                <a:cubicBezTo>
                  <a:pt x="1309052" y="2194443"/>
                  <a:pt x="796691" y="2329623"/>
                  <a:pt x="436351" y="2146567"/>
                </a:cubicBezTo>
                <a:cubicBezTo>
                  <a:pt x="71787" y="1960693"/>
                  <a:pt x="0" y="1496010"/>
                  <a:pt x="0" y="1127080"/>
                </a:cubicBezTo>
                <a:cubicBezTo>
                  <a:pt x="0" y="742661"/>
                  <a:pt x="95716" y="334302"/>
                  <a:pt x="453241" y="130123"/>
                </a:cubicBezTo>
                <a:cubicBezTo>
                  <a:pt x="607811" y="42027"/>
                  <a:pt x="787708" y="4063"/>
                  <a:pt x="971830" y="311"/>
                </a:cubicBezTo>
                <a:close/>
              </a:path>
            </a:pathLst>
          </a:custGeom>
          <a:gradFill flip="none" rotWithShape="1">
            <a:gsLst>
              <a:gs pos="0">
                <a:srgbClr val="FFD893">
                  <a:shade val="30000"/>
                  <a:satMod val="115000"/>
                </a:srgbClr>
              </a:gs>
              <a:gs pos="50000">
                <a:srgbClr val="FFD893">
                  <a:shade val="67500"/>
                  <a:satMod val="115000"/>
                </a:srgbClr>
              </a:gs>
              <a:gs pos="100000">
                <a:srgbClr val="FFD893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Freeform 37"/>
          <p:cNvSpPr/>
          <p:nvPr/>
        </p:nvSpPr>
        <p:spPr>
          <a:xfrm flipH="1">
            <a:off x="1331340" y="5025866"/>
            <a:ext cx="1993299" cy="1581564"/>
          </a:xfrm>
          <a:custGeom>
            <a:avLst/>
            <a:gdLst>
              <a:gd name="connsiteX0" fmla="*/ 971830 w 2671591"/>
              <a:gd name="connsiteY0" fmla="*/ 311 h 2234714"/>
              <a:gd name="connsiteX1" fmla="*/ 1658132 w 2671591"/>
              <a:gd name="connsiteY1" fmla="*/ 121674 h 2234714"/>
              <a:gd name="connsiteX2" fmla="*/ 2391482 w 2671591"/>
              <a:gd name="connsiteY2" fmla="*/ 570869 h 2234714"/>
              <a:gd name="connsiteX3" fmla="*/ 2671591 w 2671591"/>
              <a:gd name="connsiteY3" fmla="*/ 1127080 h 2234714"/>
              <a:gd name="connsiteX4" fmla="*/ 2398520 w 2671591"/>
              <a:gd name="connsiteY4" fmla="*/ 1555152 h 2234714"/>
              <a:gd name="connsiteX5" fmla="*/ 1656724 w 2671591"/>
              <a:gd name="connsiteY5" fmla="*/ 2040957 h 2234714"/>
              <a:gd name="connsiteX6" fmla="*/ 436351 w 2671591"/>
              <a:gd name="connsiteY6" fmla="*/ 2146567 h 2234714"/>
              <a:gd name="connsiteX7" fmla="*/ 0 w 2671591"/>
              <a:gd name="connsiteY7" fmla="*/ 1127080 h 2234714"/>
              <a:gd name="connsiteX8" fmla="*/ 453241 w 2671591"/>
              <a:gd name="connsiteY8" fmla="*/ 130123 h 2234714"/>
              <a:gd name="connsiteX9" fmla="*/ 971830 w 2671591"/>
              <a:gd name="connsiteY9" fmla="*/ 311 h 2234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71591" h="2234714">
                <a:moveTo>
                  <a:pt x="971830" y="311"/>
                </a:moveTo>
                <a:cubicBezTo>
                  <a:pt x="1208558" y="-4512"/>
                  <a:pt x="1452273" y="47220"/>
                  <a:pt x="1658132" y="121674"/>
                </a:cubicBezTo>
                <a:cubicBezTo>
                  <a:pt x="1922757" y="217427"/>
                  <a:pt x="2191606" y="370914"/>
                  <a:pt x="2391482" y="570869"/>
                </a:cubicBezTo>
                <a:cubicBezTo>
                  <a:pt x="2536463" y="715906"/>
                  <a:pt x="2671591" y="914452"/>
                  <a:pt x="2671591" y="1127080"/>
                </a:cubicBezTo>
                <a:cubicBezTo>
                  <a:pt x="2671591" y="1267893"/>
                  <a:pt x="2492828" y="1465031"/>
                  <a:pt x="2398520" y="1555152"/>
                </a:cubicBezTo>
                <a:cubicBezTo>
                  <a:pt x="2188790" y="1755106"/>
                  <a:pt x="1919942" y="1922674"/>
                  <a:pt x="1656724" y="2040957"/>
                </a:cubicBezTo>
                <a:cubicBezTo>
                  <a:pt x="1309052" y="2194443"/>
                  <a:pt x="796691" y="2329623"/>
                  <a:pt x="436351" y="2146567"/>
                </a:cubicBezTo>
                <a:cubicBezTo>
                  <a:pt x="71787" y="1960693"/>
                  <a:pt x="0" y="1496010"/>
                  <a:pt x="0" y="1127080"/>
                </a:cubicBezTo>
                <a:cubicBezTo>
                  <a:pt x="0" y="742661"/>
                  <a:pt x="95716" y="334302"/>
                  <a:pt x="453241" y="130123"/>
                </a:cubicBezTo>
                <a:cubicBezTo>
                  <a:pt x="607811" y="42027"/>
                  <a:pt x="787708" y="4063"/>
                  <a:pt x="971830" y="311"/>
                </a:cubicBezTo>
                <a:close/>
              </a:path>
            </a:pathLst>
          </a:custGeom>
          <a:gradFill flip="none" rotWithShape="1">
            <a:gsLst>
              <a:gs pos="0">
                <a:srgbClr val="FFD893">
                  <a:shade val="30000"/>
                  <a:satMod val="115000"/>
                </a:srgbClr>
              </a:gs>
              <a:gs pos="50000">
                <a:srgbClr val="FFD893">
                  <a:shade val="67500"/>
                  <a:satMod val="115000"/>
                </a:srgbClr>
              </a:gs>
              <a:gs pos="100000">
                <a:srgbClr val="FFD893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9" name="Picture Placeholder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80" r="14080"/>
          <a:stretch>
            <a:fillRect/>
          </a:stretch>
        </p:blipFill>
        <p:spPr>
          <a:xfrm>
            <a:off x="1353596" y="5034979"/>
            <a:ext cx="1993900" cy="1581719"/>
          </a:xfrm>
          <a:custGeom>
            <a:avLst/>
            <a:gdLst>
              <a:gd name="connsiteX0" fmla="*/ 2592867 w 7127875"/>
              <a:gd name="connsiteY0" fmla="*/ 830 h 5962275"/>
              <a:gd name="connsiteX1" fmla="*/ 4423940 w 7127875"/>
              <a:gd name="connsiteY1" fmla="*/ 324631 h 5962275"/>
              <a:gd name="connsiteX2" fmla="*/ 6380537 w 7127875"/>
              <a:gd name="connsiteY2" fmla="*/ 1523092 h 5962275"/>
              <a:gd name="connsiteX3" fmla="*/ 7127875 w 7127875"/>
              <a:gd name="connsiteY3" fmla="*/ 3007078 h 5962275"/>
              <a:gd name="connsiteX4" fmla="*/ 6399315 w 7127875"/>
              <a:gd name="connsiteY4" fmla="*/ 4149185 h 5962275"/>
              <a:gd name="connsiteX5" fmla="*/ 4420184 w 7127875"/>
              <a:gd name="connsiteY5" fmla="*/ 5445325 h 5962275"/>
              <a:gd name="connsiteX6" fmla="*/ 1164195 w 7127875"/>
              <a:gd name="connsiteY6" fmla="*/ 5727095 h 5962275"/>
              <a:gd name="connsiteX7" fmla="*/ 0 w 7127875"/>
              <a:gd name="connsiteY7" fmla="*/ 3007078 h 5962275"/>
              <a:gd name="connsiteX8" fmla="*/ 1209260 w 7127875"/>
              <a:gd name="connsiteY8" fmla="*/ 347173 h 5962275"/>
              <a:gd name="connsiteX9" fmla="*/ 2592867 w 7127875"/>
              <a:gd name="connsiteY9" fmla="*/ 830 h 5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27875" h="5962275">
                <a:moveTo>
                  <a:pt x="2592867" y="830"/>
                </a:moveTo>
                <a:cubicBezTo>
                  <a:pt x="3224464" y="-12039"/>
                  <a:pt x="3874703" y="125984"/>
                  <a:pt x="4423940" y="324631"/>
                </a:cubicBezTo>
                <a:cubicBezTo>
                  <a:pt x="5129967" y="580102"/>
                  <a:pt x="5847261" y="989608"/>
                  <a:pt x="6380537" y="1523092"/>
                </a:cubicBezTo>
                <a:cubicBezTo>
                  <a:pt x="6767350" y="1910055"/>
                  <a:pt x="7127875" y="2439782"/>
                  <a:pt x="7127875" y="3007078"/>
                </a:cubicBezTo>
                <a:cubicBezTo>
                  <a:pt x="7127875" y="3382771"/>
                  <a:pt x="6650931" y="3908741"/>
                  <a:pt x="6399315" y="4149185"/>
                </a:cubicBezTo>
                <a:cubicBezTo>
                  <a:pt x="5839750" y="4682668"/>
                  <a:pt x="5122456" y="5129743"/>
                  <a:pt x="4420184" y="5445325"/>
                </a:cubicBezTo>
                <a:cubicBezTo>
                  <a:pt x="3492584" y="5854830"/>
                  <a:pt x="2125594" y="6215495"/>
                  <a:pt x="1164195" y="5727095"/>
                </a:cubicBezTo>
                <a:cubicBezTo>
                  <a:pt x="191529" y="5231180"/>
                  <a:pt x="0" y="3991393"/>
                  <a:pt x="0" y="3007078"/>
                </a:cubicBezTo>
                <a:cubicBezTo>
                  <a:pt x="0" y="1981437"/>
                  <a:pt x="255372" y="891928"/>
                  <a:pt x="1209260" y="347173"/>
                </a:cubicBezTo>
                <a:cubicBezTo>
                  <a:pt x="1621657" y="112130"/>
                  <a:pt x="2101625" y="10840"/>
                  <a:pt x="2592867" y="830"/>
                </a:cubicBezTo>
                <a:close/>
              </a:path>
            </a:pathLst>
          </a:custGeom>
        </p:spPr>
      </p:pic>
      <p:pic>
        <p:nvPicPr>
          <p:cNvPr id="40" name="Picture Placeholder 9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25" r="14125"/>
          <a:stretch>
            <a:fillRect/>
          </a:stretch>
        </p:blipFill>
        <p:spPr>
          <a:xfrm>
            <a:off x="4900508" y="5102246"/>
            <a:ext cx="1993900" cy="1581719"/>
          </a:xfrm>
          <a:custGeom>
            <a:avLst/>
            <a:gdLst>
              <a:gd name="connsiteX0" fmla="*/ 2592867 w 7127875"/>
              <a:gd name="connsiteY0" fmla="*/ 830 h 5962275"/>
              <a:gd name="connsiteX1" fmla="*/ 4423940 w 7127875"/>
              <a:gd name="connsiteY1" fmla="*/ 324631 h 5962275"/>
              <a:gd name="connsiteX2" fmla="*/ 6380537 w 7127875"/>
              <a:gd name="connsiteY2" fmla="*/ 1523092 h 5962275"/>
              <a:gd name="connsiteX3" fmla="*/ 7127875 w 7127875"/>
              <a:gd name="connsiteY3" fmla="*/ 3007078 h 5962275"/>
              <a:gd name="connsiteX4" fmla="*/ 6399315 w 7127875"/>
              <a:gd name="connsiteY4" fmla="*/ 4149185 h 5962275"/>
              <a:gd name="connsiteX5" fmla="*/ 4420184 w 7127875"/>
              <a:gd name="connsiteY5" fmla="*/ 5445325 h 5962275"/>
              <a:gd name="connsiteX6" fmla="*/ 1164195 w 7127875"/>
              <a:gd name="connsiteY6" fmla="*/ 5727095 h 5962275"/>
              <a:gd name="connsiteX7" fmla="*/ 0 w 7127875"/>
              <a:gd name="connsiteY7" fmla="*/ 3007078 h 5962275"/>
              <a:gd name="connsiteX8" fmla="*/ 1209260 w 7127875"/>
              <a:gd name="connsiteY8" fmla="*/ 347173 h 5962275"/>
              <a:gd name="connsiteX9" fmla="*/ 2592867 w 7127875"/>
              <a:gd name="connsiteY9" fmla="*/ 830 h 5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27875" h="5962275">
                <a:moveTo>
                  <a:pt x="2592867" y="830"/>
                </a:moveTo>
                <a:cubicBezTo>
                  <a:pt x="3224464" y="-12039"/>
                  <a:pt x="3874703" y="125984"/>
                  <a:pt x="4423940" y="324631"/>
                </a:cubicBezTo>
                <a:cubicBezTo>
                  <a:pt x="5129967" y="580102"/>
                  <a:pt x="5847261" y="989608"/>
                  <a:pt x="6380537" y="1523092"/>
                </a:cubicBezTo>
                <a:cubicBezTo>
                  <a:pt x="6767350" y="1910055"/>
                  <a:pt x="7127875" y="2439782"/>
                  <a:pt x="7127875" y="3007078"/>
                </a:cubicBezTo>
                <a:cubicBezTo>
                  <a:pt x="7127875" y="3382771"/>
                  <a:pt x="6650931" y="3908741"/>
                  <a:pt x="6399315" y="4149185"/>
                </a:cubicBezTo>
                <a:cubicBezTo>
                  <a:pt x="5839750" y="4682668"/>
                  <a:pt x="5122456" y="5129743"/>
                  <a:pt x="4420184" y="5445325"/>
                </a:cubicBezTo>
                <a:cubicBezTo>
                  <a:pt x="3492584" y="5854830"/>
                  <a:pt x="2125594" y="6215495"/>
                  <a:pt x="1164195" y="5727095"/>
                </a:cubicBezTo>
                <a:cubicBezTo>
                  <a:pt x="191529" y="5231180"/>
                  <a:pt x="0" y="3991393"/>
                  <a:pt x="0" y="3007078"/>
                </a:cubicBezTo>
                <a:cubicBezTo>
                  <a:pt x="0" y="1981437"/>
                  <a:pt x="255372" y="891928"/>
                  <a:pt x="1209260" y="347173"/>
                </a:cubicBezTo>
                <a:cubicBezTo>
                  <a:pt x="1621657" y="112130"/>
                  <a:pt x="2101625" y="10840"/>
                  <a:pt x="2592867" y="830"/>
                </a:cubicBezTo>
                <a:close/>
              </a:path>
            </a:pathLst>
          </a:custGeom>
        </p:spPr>
      </p:pic>
      <p:grpSp>
        <p:nvGrpSpPr>
          <p:cNvPr id="41" name="Group 40"/>
          <p:cNvGrpSpPr/>
          <p:nvPr/>
        </p:nvGrpSpPr>
        <p:grpSpPr>
          <a:xfrm>
            <a:off x="1239210" y="3869778"/>
            <a:ext cx="2177624" cy="914252"/>
            <a:chOff x="681281" y="3629942"/>
            <a:chExt cx="3837738" cy="858295"/>
          </a:xfrm>
        </p:grpSpPr>
        <p:sp>
          <p:nvSpPr>
            <p:cNvPr id="42" name="TextBox 41"/>
            <p:cNvSpPr txBox="1"/>
            <p:nvPr/>
          </p:nvSpPr>
          <p:spPr>
            <a:xfrm>
              <a:off x="3476009" y="3641194"/>
              <a:ext cx="1043010" cy="317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1.2%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07270" y="3629942"/>
              <a:ext cx="1199819" cy="317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56D78"/>
                  </a:solidFill>
                  <a:effectLst/>
                  <a:uLnTx/>
                  <a:uFillTx/>
                  <a:latin typeface="Calibri" panose="020F0502020204030204" pitchFamily="34" charset="0"/>
                  <a:ea typeface="Roboto Light" pitchFamily="2" charset="0"/>
                  <a:cs typeface="Calibri" panose="020F0502020204030204" pitchFamily="34" charset="0"/>
                </a:rPr>
                <a:t>GDP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457933" y="4156811"/>
              <a:ext cx="1043010" cy="317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0.7%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81281" y="4170404"/>
              <a:ext cx="2826938" cy="317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56D78"/>
                  </a:solidFill>
                  <a:effectLst/>
                  <a:uLnTx/>
                  <a:uFillTx/>
                  <a:latin typeface="Calibri" panose="020F0502020204030204" pitchFamily="34" charset="0"/>
                  <a:ea typeface="Roboto Light" pitchFamily="2" charset="0"/>
                  <a:cs typeface="Calibri" panose="020F0502020204030204" pitchFamily="34" charset="0"/>
                </a:rPr>
                <a:t>Non oil GDP </a:t>
              </a: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956692" y="2448184"/>
            <a:ext cx="3008228" cy="1015663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UAE GDP Growth</a:t>
            </a:r>
            <a:endParaRPr kumimoji="0" lang="ar-AE" sz="2000" b="0" i="0" u="none" strike="noStrike" kern="1200" cap="none" spc="0" normalizeH="0" baseline="0" noProof="0" dirty="0">
              <a:ln>
                <a:noFill/>
              </a:ln>
              <a:solidFill>
                <a:srgbClr val="AF8842"/>
              </a:solidFill>
              <a:effectLst/>
              <a:uLnTx/>
              <a:uFillTx/>
              <a:latin typeface="Calibri" panose="020F0502020204030204" pitchFamily="34" charset="0"/>
              <a:ea typeface="Roboto Light" pitchFamily="2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(2018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AE" sz="2000" b="1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volume</a:t>
            </a:r>
            <a:r>
              <a:rPr kumimoji="0" lang="ar-AE" sz="2000" b="1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398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Billion US Dolla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AF8842"/>
              </a:solidFill>
              <a:effectLst/>
              <a:uLnTx/>
              <a:uFillTx/>
              <a:latin typeface="Calibri" panose="020F0502020204030204" pitchFamily="34" charset="0"/>
              <a:ea typeface="Roboto Light" pitchFamily="2" charset="0"/>
              <a:cs typeface="Calibri" panose="020F0502020204030204" pitchFamily="34" charset="0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4721695" y="3819327"/>
            <a:ext cx="2175212" cy="1011496"/>
            <a:chOff x="579799" y="3560567"/>
            <a:chExt cx="3833486" cy="949586"/>
          </a:xfrm>
        </p:grpSpPr>
        <p:sp>
          <p:nvSpPr>
            <p:cNvPr id="48" name="TextBox 47"/>
            <p:cNvSpPr txBox="1"/>
            <p:nvPr/>
          </p:nvSpPr>
          <p:spPr>
            <a:xfrm>
              <a:off x="3315020" y="3560567"/>
              <a:ext cx="1093861" cy="317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1.7%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579799" y="3607930"/>
              <a:ext cx="1199819" cy="317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56D78"/>
                  </a:solidFill>
                  <a:effectLst/>
                  <a:uLnTx/>
                  <a:uFillTx/>
                  <a:latin typeface="Calibri" panose="020F0502020204030204" pitchFamily="34" charset="0"/>
                  <a:ea typeface="Roboto Light" pitchFamily="2" charset="0"/>
                  <a:cs typeface="Calibri" panose="020F0502020204030204" pitchFamily="34" charset="0"/>
                </a:rPr>
                <a:t>GDP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370275" y="4136654"/>
              <a:ext cx="1043010" cy="317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1.0%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599215" y="4192320"/>
              <a:ext cx="2826937" cy="317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56D78"/>
                  </a:solidFill>
                  <a:effectLst/>
                  <a:uLnTx/>
                  <a:uFillTx/>
                  <a:latin typeface="Calibri" panose="020F0502020204030204" pitchFamily="34" charset="0"/>
                  <a:ea typeface="Roboto Light" pitchFamily="2" charset="0"/>
                  <a:cs typeface="Calibri" panose="020F0502020204030204" pitchFamily="34" charset="0"/>
                </a:rPr>
                <a:t>Non oil GDP </a:t>
              </a:r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4515028" y="2448184"/>
            <a:ext cx="2764859" cy="1015663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UAE GDP Growth</a:t>
            </a:r>
            <a:endParaRPr kumimoji="0" lang="ar-AE" sz="2000" b="0" i="0" u="none" strike="noStrike" kern="1200" cap="none" spc="0" normalizeH="0" baseline="0" noProof="0" dirty="0">
              <a:ln>
                <a:noFill/>
              </a:ln>
              <a:solidFill>
                <a:srgbClr val="AF8842"/>
              </a:solidFill>
              <a:effectLst/>
              <a:uLnTx/>
              <a:uFillTx/>
              <a:latin typeface="Calibri" panose="020F0502020204030204" pitchFamily="34" charset="0"/>
              <a:ea typeface="Roboto Light" pitchFamily="2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(2019 Preliminary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656D78"/>
              </a:solidFill>
              <a:effectLst/>
              <a:uLnTx/>
              <a:uFillTx/>
              <a:latin typeface="Calibri" panose="020F0502020204030204" pitchFamily="34" charset="0"/>
              <a:ea typeface="Roboto Light" pitchFamily="2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AE" sz="2000" b="1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volum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405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Billion US Dollars</a:t>
            </a:r>
          </a:p>
        </p:txBody>
      </p:sp>
      <p:grpSp>
        <p:nvGrpSpPr>
          <p:cNvPr id="53" name="Group 52"/>
          <p:cNvGrpSpPr/>
          <p:nvPr/>
        </p:nvGrpSpPr>
        <p:grpSpPr>
          <a:xfrm rot="5400000">
            <a:off x="5297134" y="4313553"/>
            <a:ext cx="4754877" cy="45719"/>
            <a:chOff x="7001699" y="3148901"/>
            <a:chExt cx="4194767" cy="11431"/>
          </a:xfrm>
        </p:grpSpPr>
        <p:sp>
          <p:nvSpPr>
            <p:cNvPr id="63" name="Shape 1036"/>
            <p:cNvSpPr/>
            <p:nvPr/>
          </p:nvSpPr>
          <p:spPr>
            <a:xfrm>
              <a:off x="7001699" y="3148901"/>
              <a:ext cx="1085850" cy="1"/>
            </a:xfrm>
            <a:prstGeom prst="line">
              <a:avLst/>
            </a:prstGeom>
            <a:noFill/>
            <a:ln w="25400" cap="flat">
              <a:solidFill>
                <a:srgbClr val="AF884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Shape 1037"/>
            <p:cNvSpPr/>
            <p:nvPr/>
          </p:nvSpPr>
          <p:spPr>
            <a:xfrm>
              <a:off x="7001699" y="3160332"/>
              <a:ext cx="4194767" cy="0"/>
            </a:xfrm>
            <a:prstGeom prst="line">
              <a:avLst/>
            </a:prstGeom>
            <a:noFill/>
            <a:ln w="9525" cap="flat">
              <a:solidFill>
                <a:srgbClr val="AF8842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656D78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aphicFrame>
        <p:nvGraphicFramePr>
          <p:cNvPr id="65" name="Chart 64"/>
          <p:cNvGraphicFramePr/>
          <p:nvPr>
            <p:extLst>
              <p:ext uri="{D42A27DB-BD31-4B8C-83A1-F6EECF244321}">
                <p14:modId xmlns:p14="http://schemas.microsoft.com/office/powerpoint/2010/main" val="1275857463"/>
              </p:ext>
            </p:extLst>
          </p:nvPr>
        </p:nvGraphicFramePr>
        <p:xfrm>
          <a:off x="4665848" y="3968909"/>
          <a:ext cx="2301773" cy="49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6" name="Chart 65"/>
          <p:cNvGraphicFramePr/>
          <p:nvPr>
            <p:extLst>
              <p:ext uri="{D42A27DB-BD31-4B8C-83A1-F6EECF244321}">
                <p14:modId xmlns:p14="http://schemas.microsoft.com/office/powerpoint/2010/main" val="2271216762"/>
              </p:ext>
            </p:extLst>
          </p:nvPr>
        </p:nvGraphicFramePr>
        <p:xfrm>
          <a:off x="1199659" y="3977887"/>
          <a:ext cx="2301773" cy="49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7" name="Chart 66"/>
          <p:cNvGraphicFramePr/>
          <p:nvPr>
            <p:extLst>
              <p:ext uri="{D42A27DB-BD31-4B8C-83A1-F6EECF244321}">
                <p14:modId xmlns:p14="http://schemas.microsoft.com/office/powerpoint/2010/main" val="635543746"/>
              </p:ext>
            </p:extLst>
          </p:nvPr>
        </p:nvGraphicFramePr>
        <p:xfrm>
          <a:off x="1209410" y="4603047"/>
          <a:ext cx="2305096" cy="519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7921929" y="2660678"/>
            <a:ext cx="3445302" cy="70788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Diversification of </a:t>
            </a:r>
            <a:endParaRPr kumimoji="0" lang="ar-AE" sz="2000" b="0" i="0" u="none" strike="noStrike" kern="1200" cap="none" spc="0" normalizeH="0" baseline="0" noProof="0" dirty="0">
              <a:ln>
                <a:noFill/>
              </a:ln>
              <a:solidFill>
                <a:srgbClr val="AF8842"/>
              </a:solidFill>
              <a:effectLst/>
              <a:uLnTx/>
              <a:uFillTx/>
              <a:latin typeface="Calibri" panose="020F0502020204030204" pitchFamily="34" charset="0"/>
              <a:ea typeface="Roboto Light" pitchFamily="2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F8842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the GDP 2019</a:t>
            </a:r>
            <a:endParaRPr kumimoji="0" lang="ar-AE" sz="2000" b="0" i="0" u="none" strike="noStrike" kern="1200" cap="none" spc="0" normalizeH="0" baseline="0" noProof="0" dirty="0">
              <a:ln>
                <a:noFill/>
              </a:ln>
              <a:solidFill>
                <a:srgbClr val="AF8842"/>
              </a:solidFill>
              <a:effectLst/>
              <a:uLnTx/>
              <a:uFillTx/>
              <a:latin typeface="Calibri" panose="020F0502020204030204" pitchFamily="34" charset="0"/>
              <a:ea typeface="Roboto Light" pitchFamily="2" charset="0"/>
              <a:cs typeface="Calibri" panose="020F0502020204030204" pitchFamily="34" charset="0"/>
            </a:endParaRPr>
          </a:p>
        </p:txBody>
      </p:sp>
      <p:sp>
        <p:nvSpPr>
          <p:cNvPr id="70" name="Freeform 69"/>
          <p:cNvSpPr/>
          <p:nvPr/>
        </p:nvSpPr>
        <p:spPr>
          <a:xfrm flipH="1">
            <a:off x="8767046" y="5044562"/>
            <a:ext cx="1993299" cy="1581564"/>
          </a:xfrm>
          <a:custGeom>
            <a:avLst/>
            <a:gdLst>
              <a:gd name="connsiteX0" fmla="*/ 971830 w 2671591"/>
              <a:gd name="connsiteY0" fmla="*/ 311 h 2234714"/>
              <a:gd name="connsiteX1" fmla="*/ 1658132 w 2671591"/>
              <a:gd name="connsiteY1" fmla="*/ 121674 h 2234714"/>
              <a:gd name="connsiteX2" fmla="*/ 2391482 w 2671591"/>
              <a:gd name="connsiteY2" fmla="*/ 570869 h 2234714"/>
              <a:gd name="connsiteX3" fmla="*/ 2671591 w 2671591"/>
              <a:gd name="connsiteY3" fmla="*/ 1127080 h 2234714"/>
              <a:gd name="connsiteX4" fmla="*/ 2398520 w 2671591"/>
              <a:gd name="connsiteY4" fmla="*/ 1555152 h 2234714"/>
              <a:gd name="connsiteX5" fmla="*/ 1656724 w 2671591"/>
              <a:gd name="connsiteY5" fmla="*/ 2040957 h 2234714"/>
              <a:gd name="connsiteX6" fmla="*/ 436351 w 2671591"/>
              <a:gd name="connsiteY6" fmla="*/ 2146567 h 2234714"/>
              <a:gd name="connsiteX7" fmla="*/ 0 w 2671591"/>
              <a:gd name="connsiteY7" fmla="*/ 1127080 h 2234714"/>
              <a:gd name="connsiteX8" fmla="*/ 453241 w 2671591"/>
              <a:gd name="connsiteY8" fmla="*/ 130123 h 2234714"/>
              <a:gd name="connsiteX9" fmla="*/ 971830 w 2671591"/>
              <a:gd name="connsiteY9" fmla="*/ 311 h 2234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71591" h="2234714">
                <a:moveTo>
                  <a:pt x="971830" y="311"/>
                </a:moveTo>
                <a:cubicBezTo>
                  <a:pt x="1208558" y="-4512"/>
                  <a:pt x="1452273" y="47220"/>
                  <a:pt x="1658132" y="121674"/>
                </a:cubicBezTo>
                <a:cubicBezTo>
                  <a:pt x="1922757" y="217427"/>
                  <a:pt x="2191606" y="370914"/>
                  <a:pt x="2391482" y="570869"/>
                </a:cubicBezTo>
                <a:cubicBezTo>
                  <a:pt x="2536463" y="715906"/>
                  <a:pt x="2671591" y="914452"/>
                  <a:pt x="2671591" y="1127080"/>
                </a:cubicBezTo>
                <a:cubicBezTo>
                  <a:pt x="2671591" y="1267893"/>
                  <a:pt x="2492828" y="1465031"/>
                  <a:pt x="2398520" y="1555152"/>
                </a:cubicBezTo>
                <a:cubicBezTo>
                  <a:pt x="2188790" y="1755106"/>
                  <a:pt x="1919942" y="1922674"/>
                  <a:pt x="1656724" y="2040957"/>
                </a:cubicBezTo>
                <a:cubicBezTo>
                  <a:pt x="1309052" y="2194443"/>
                  <a:pt x="796691" y="2329623"/>
                  <a:pt x="436351" y="2146567"/>
                </a:cubicBezTo>
                <a:cubicBezTo>
                  <a:pt x="71787" y="1960693"/>
                  <a:pt x="0" y="1496010"/>
                  <a:pt x="0" y="1127080"/>
                </a:cubicBezTo>
                <a:cubicBezTo>
                  <a:pt x="0" y="742661"/>
                  <a:pt x="95716" y="334302"/>
                  <a:pt x="453241" y="130123"/>
                </a:cubicBezTo>
                <a:cubicBezTo>
                  <a:pt x="607811" y="42027"/>
                  <a:pt x="787708" y="4063"/>
                  <a:pt x="971830" y="311"/>
                </a:cubicBezTo>
                <a:close/>
              </a:path>
            </a:pathLst>
          </a:custGeom>
          <a:gradFill flip="none" rotWithShape="1">
            <a:gsLst>
              <a:gs pos="0">
                <a:srgbClr val="FFD893">
                  <a:shade val="30000"/>
                  <a:satMod val="115000"/>
                </a:srgbClr>
              </a:gs>
              <a:gs pos="50000">
                <a:srgbClr val="FFD893">
                  <a:shade val="67500"/>
                  <a:satMod val="115000"/>
                </a:srgbClr>
              </a:gs>
              <a:gs pos="100000">
                <a:srgbClr val="FFD893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1" name="Picture Placeholder 9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7457" y="5041974"/>
            <a:ext cx="1992312" cy="1584106"/>
          </a:xfrm>
          <a:custGeom>
            <a:avLst/>
            <a:gdLst>
              <a:gd name="connsiteX0" fmla="*/ 2592867 w 7127875"/>
              <a:gd name="connsiteY0" fmla="*/ 830 h 5962275"/>
              <a:gd name="connsiteX1" fmla="*/ 4423940 w 7127875"/>
              <a:gd name="connsiteY1" fmla="*/ 324631 h 5962275"/>
              <a:gd name="connsiteX2" fmla="*/ 6380537 w 7127875"/>
              <a:gd name="connsiteY2" fmla="*/ 1523092 h 5962275"/>
              <a:gd name="connsiteX3" fmla="*/ 7127875 w 7127875"/>
              <a:gd name="connsiteY3" fmla="*/ 3007078 h 5962275"/>
              <a:gd name="connsiteX4" fmla="*/ 6399315 w 7127875"/>
              <a:gd name="connsiteY4" fmla="*/ 4149185 h 5962275"/>
              <a:gd name="connsiteX5" fmla="*/ 4420184 w 7127875"/>
              <a:gd name="connsiteY5" fmla="*/ 5445325 h 5962275"/>
              <a:gd name="connsiteX6" fmla="*/ 1164195 w 7127875"/>
              <a:gd name="connsiteY6" fmla="*/ 5727095 h 5962275"/>
              <a:gd name="connsiteX7" fmla="*/ 0 w 7127875"/>
              <a:gd name="connsiteY7" fmla="*/ 3007078 h 5962275"/>
              <a:gd name="connsiteX8" fmla="*/ 1209260 w 7127875"/>
              <a:gd name="connsiteY8" fmla="*/ 347173 h 5962275"/>
              <a:gd name="connsiteX9" fmla="*/ 2592867 w 7127875"/>
              <a:gd name="connsiteY9" fmla="*/ 830 h 5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27875" h="5962275">
                <a:moveTo>
                  <a:pt x="2592867" y="830"/>
                </a:moveTo>
                <a:cubicBezTo>
                  <a:pt x="3224464" y="-12039"/>
                  <a:pt x="3874703" y="125984"/>
                  <a:pt x="4423940" y="324631"/>
                </a:cubicBezTo>
                <a:cubicBezTo>
                  <a:pt x="5129967" y="580102"/>
                  <a:pt x="5847261" y="989608"/>
                  <a:pt x="6380537" y="1523092"/>
                </a:cubicBezTo>
                <a:cubicBezTo>
                  <a:pt x="6767350" y="1910055"/>
                  <a:pt x="7127875" y="2439782"/>
                  <a:pt x="7127875" y="3007078"/>
                </a:cubicBezTo>
                <a:cubicBezTo>
                  <a:pt x="7127875" y="3382771"/>
                  <a:pt x="6650931" y="3908741"/>
                  <a:pt x="6399315" y="4149185"/>
                </a:cubicBezTo>
                <a:cubicBezTo>
                  <a:pt x="5839750" y="4682668"/>
                  <a:pt x="5122456" y="5129743"/>
                  <a:pt x="4420184" y="5445325"/>
                </a:cubicBezTo>
                <a:cubicBezTo>
                  <a:pt x="3492584" y="5854830"/>
                  <a:pt x="2125594" y="6215495"/>
                  <a:pt x="1164195" y="5727095"/>
                </a:cubicBezTo>
                <a:cubicBezTo>
                  <a:pt x="191529" y="5231180"/>
                  <a:pt x="0" y="3991393"/>
                  <a:pt x="0" y="3007078"/>
                </a:cubicBezTo>
                <a:cubicBezTo>
                  <a:pt x="0" y="1981437"/>
                  <a:pt x="255372" y="891928"/>
                  <a:pt x="1209260" y="347173"/>
                </a:cubicBezTo>
                <a:cubicBezTo>
                  <a:pt x="1621657" y="112130"/>
                  <a:pt x="2101625" y="10840"/>
                  <a:pt x="2592867" y="830"/>
                </a:cubicBezTo>
                <a:close/>
              </a:path>
            </a:pathLst>
          </a:custGeom>
        </p:spPr>
      </p:pic>
      <p:grpSp>
        <p:nvGrpSpPr>
          <p:cNvPr id="72" name="Group 71"/>
          <p:cNvGrpSpPr/>
          <p:nvPr/>
        </p:nvGrpSpPr>
        <p:grpSpPr>
          <a:xfrm>
            <a:off x="8615114" y="3740489"/>
            <a:ext cx="1917246" cy="989831"/>
            <a:chOff x="894933" y="3558989"/>
            <a:chExt cx="3378860" cy="929247"/>
          </a:xfrm>
        </p:grpSpPr>
        <p:sp>
          <p:nvSpPr>
            <p:cNvPr id="73" name="TextBox 72"/>
            <p:cNvSpPr txBox="1"/>
            <p:nvPr/>
          </p:nvSpPr>
          <p:spPr>
            <a:xfrm>
              <a:off x="3321184" y="3558989"/>
              <a:ext cx="952609" cy="317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30%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894933" y="3586772"/>
              <a:ext cx="737903" cy="317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56D78"/>
                  </a:solidFill>
                  <a:effectLst/>
                  <a:uLnTx/>
                  <a:uFillTx/>
                  <a:latin typeface="Calibri" panose="020F0502020204030204" pitchFamily="34" charset="0"/>
                  <a:ea typeface="Roboto Light" pitchFamily="2" charset="0"/>
                  <a:cs typeface="Calibri" panose="020F0502020204030204" pitchFamily="34" charset="0"/>
                </a:rPr>
                <a:t>Oil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3211399" y="4135429"/>
              <a:ext cx="952609" cy="317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Roboto" pitchFamily="2" charset="0"/>
                  <a:cs typeface="Calibri" panose="020F0502020204030204" pitchFamily="34" charset="0"/>
                </a:rPr>
                <a:t>70%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894933" y="4170404"/>
              <a:ext cx="1407443" cy="317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56D78"/>
                  </a:solidFill>
                  <a:effectLst/>
                  <a:uLnTx/>
                  <a:uFillTx/>
                  <a:latin typeface="Calibri" panose="020F0502020204030204" pitchFamily="34" charset="0"/>
                  <a:ea typeface="Roboto Light" pitchFamily="2" charset="0"/>
                  <a:cs typeface="Calibri" panose="020F0502020204030204" pitchFamily="34" charset="0"/>
                </a:rPr>
                <a:t>Non-oil</a:t>
              </a:r>
            </a:p>
          </p:txBody>
        </p:sp>
      </p:grpSp>
      <p:graphicFrame>
        <p:nvGraphicFramePr>
          <p:cNvPr id="95" name="Chart 94"/>
          <p:cNvGraphicFramePr/>
          <p:nvPr>
            <p:extLst>
              <p:ext uri="{D42A27DB-BD31-4B8C-83A1-F6EECF244321}">
                <p14:modId xmlns:p14="http://schemas.microsoft.com/office/powerpoint/2010/main" val="2248898371"/>
              </p:ext>
            </p:extLst>
          </p:nvPr>
        </p:nvGraphicFramePr>
        <p:xfrm>
          <a:off x="8472597" y="3990942"/>
          <a:ext cx="2850831" cy="484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96" name="Chart 95"/>
          <p:cNvGraphicFramePr/>
          <p:nvPr>
            <p:extLst>
              <p:ext uri="{D42A27DB-BD31-4B8C-83A1-F6EECF244321}">
                <p14:modId xmlns:p14="http://schemas.microsoft.com/office/powerpoint/2010/main" val="1073038331"/>
              </p:ext>
            </p:extLst>
          </p:nvPr>
        </p:nvGraphicFramePr>
        <p:xfrm>
          <a:off x="8469273" y="4617287"/>
          <a:ext cx="2850831" cy="484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98" name="TextBox 97"/>
          <p:cNvSpPr txBox="1"/>
          <p:nvPr/>
        </p:nvSpPr>
        <p:spPr>
          <a:xfrm>
            <a:off x="536121" y="1682634"/>
            <a:ext cx="29952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he UAE Economic Indicators </a:t>
            </a:r>
          </a:p>
        </p:txBody>
      </p:sp>
    </p:spTree>
    <p:extLst>
      <p:ext uri="{BB962C8B-B14F-4D97-AF65-F5344CB8AC3E}">
        <p14:creationId xmlns:p14="http://schemas.microsoft.com/office/powerpoint/2010/main" val="2930890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6446" y="1142941"/>
            <a:ext cx="15007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AD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AE Economy</a:t>
            </a:r>
          </a:p>
        </p:txBody>
      </p:sp>
      <p:sp>
        <p:nvSpPr>
          <p:cNvPr id="112" name="Slide Number Placeholder 3"/>
          <p:cNvSpPr txBox="1">
            <a:spLocks/>
          </p:cNvSpPr>
          <p:nvPr/>
        </p:nvSpPr>
        <p:spPr>
          <a:xfrm flipH="1">
            <a:off x="11614230" y="6544803"/>
            <a:ext cx="577770" cy="4032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bg1"/>
                </a:solidFill>
                <a:latin typeface="Univers Next Arabic" panose="020B0503030202020203" pitchFamily="34" charset="-78"/>
                <a:ea typeface="+mn-ea"/>
                <a:cs typeface="Univers Next Arabic" panose="020B0503030202020203" pitchFamily="34" charset="-7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B119BD-BB28-4F00-BA08-3CD2300E0933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Univers Next Arabic" panose="020B0503030202020203" pitchFamily="34" charset="-78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Univers Next Arabic" panose="020B0503030202020203" pitchFamily="34" charset="-78"/>
            </a:endParaRPr>
          </a:p>
        </p:txBody>
      </p:sp>
      <p:grpSp>
        <p:nvGrpSpPr>
          <p:cNvPr id="114" name="Group 113"/>
          <p:cNvGrpSpPr/>
          <p:nvPr/>
        </p:nvGrpSpPr>
        <p:grpSpPr>
          <a:xfrm>
            <a:off x="6499706" y="1897149"/>
            <a:ext cx="5584723" cy="5260274"/>
            <a:chOff x="397970" y="1339951"/>
            <a:chExt cx="5690327" cy="5690327"/>
          </a:xfrm>
        </p:grpSpPr>
        <p:sp>
          <p:nvSpPr>
            <p:cNvPr id="115" name="Oval 114"/>
            <p:cNvSpPr/>
            <p:nvPr/>
          </p:nvSpPr>
          <p:spPr>
            <a:xfrm>
              <a:off x="1113640" y="1835539"/>
              <a:ext cx="4432715" cy="4432715"/>
            </a:xfrm>
            <a:prstGeom prst="ellipse">
              <a:avLst/>
            </a:prstGeom>
            <a:solidFill>
              <a:srgbClr val="A179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16" name="Picture Placeholder 3">
              <a:extLst>
                <a:ext uri="{FF2B5EF4-FFF2-40B4-BE49-F238E27FC236}">
                  <a16:creationId xmlns:a16="http://schemas.microsoft.com/office/drawing/2014/main" id="{79A3D653-A7AB-455A-BC5E-D64DE3D07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 flipV="1">
              <a:off x="921825" y="1835540"/>
              <a:ext cx="4441486" cy="4395530"/>
            </a:xfrm>
            <a:prstGeom prst="ellipse">
              <a:avLst/>
            </a:prstGeom>
          </p:spPr>
        </p:pic>
        <p:grpSp>
          <p:nvGrpSpPr>
            <p:cNvPr id="117" name="Group 116"/>
            <p:cNvGrpSpPr/>
            <p:nvPr/>
          </p:nvGrpSpPr>
          <p:grpSpPr>
            <a:xfrm>
              <a:off x="397970" y="1339951"/>
              <a:ext cx="5690327" cy="5690327"/>
              <a:chOff x="7481629" y="1365590"/>
              <a:chExt cx="4644571" cy="4644571"/>
            </a:xfrm>
          </p:grpSpPr>
          <p:sp>
            <p:nvSpPr>
              <p:cNvPr id="118" name="Arc 117"/>
              <p:cNvSpPr/>
              <p:nvPr/>
            </p:nvSpPr>
            <p:spPr>
              <a:xfrm rot="8130009">
                <a:off x="7481629" y="1365590"/>
                <a:ext cx="4644571" cy="4644571"/>
              </a:xfrm>
              <a:prstGeom prst="arc">
                <a:avLst>
                  <a:gd name="adj1" fmla="val 6962511"/>
                  <a:gd name="adj2" fmla="val 9517462"/>
                </a:avLst>
              </a:prstGeom>
              <a:noFill/>
              <a:ln w="6350" cap="flat" cmpd="sng" algn="ctr">
                <a:solidFill>
                  <a:srgbClr val="A179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656D78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9" name="Arc 118"/>
              <p:cNvSpPr/>
              <p:nvPr/>
            </p:nvSpPr>
            <p:spPr>
              <a:xfrm rot="9000000">
                <a:off x="7851626" y="1542435"/>
                <a:ext cx="4062274" cy="4062276"/>
              </a:xfrm>
              <a:prstGeom prst="arc">
                <a:avLst>
                  <a:gd name="adj1" fmla="val 6962511"/>
                  <a:gd name="adj2" fmla="val 19690304"/>
                </a:avLst>
              </a:prstGeom>
              <a:noFill/>
              <a:ln w="6350" cap="flat" cmpd="sng" algn="ctr">
                <a:solidFill>
                  <a:srgbClr val="A179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656D78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120" name="Chart 119"/>
          <p:cNvGraphicFramePr>
            <a:graphicFrameLocks noChangeAspect="1"/>
          </p:cNvGraphicFramePr>
          <p:nvPr/>
        </p:nvGraphicFramePr>
        <p:xfrm>
          <a:off x="1146551" y="2356174"/>
          <a:ext cx="5595028" cy="4656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1" name="Table 120"/>
          <p:cNvGraphicFramePr>
            <a:graphicFrameLocks noGrp="1"/>
          </p:cNvGraphicFramePr>
          <p:nvPr/>
        </p:nvGraphicFramePr>
        <p:xfrm>
          <a:off x="1328962" y="2204926"/>
          <a:ext cx="4990581" cy="4522032"/>
        </p:xfrm>
        <a:graphic>
          <a:graphicData uri="http://schemas.openxmlformats.org/drawingml/2006/table">
            <a:tbl>
              <a:tblPr/>
              <a:tblGrid>
                <a:gridCol w="49905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5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ng and Quarrying (includes crude oil and natural gas)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olesale and Retail Trade; Repair of Motor Vehicles and Motorcycle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ufacturing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8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68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and insurance activitie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3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ortation and Storage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3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 Estate Activitie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16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blic Administration and Defence; Compulsory Social Security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3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, gas, and Water Supply; Waste Management Activitie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80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rmation and Communication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3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fessional, Scientific and Technical Activitie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05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mmodation and Food Service Activitie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3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ministrative and Support Service Activitie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3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 Sector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22" name="TextBox 121"/>
          <p:cNvSpPr txBox="1"/>
          <p:nvPr/>
        </p:nvSpPr>
        <p:spPr>
          <a:xfrm>
            <a:off x="536446" y="1662956"/>
            <a:ext cx="469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AF8842"/>
                </a:solidFill>
                <a:latin typeface="Roboto" pitchFamily="2" charset="0"/>
                <a:ea typeface="Roboto" pitchFamily="2" charset="0"/>
                <a:cs typeface="Roboto Black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</a:rPr>
              <a:t>By Economic Activities, 2019</a:t>
            </a:r>
          </a:p>
        </p:txBody>
      </p:sp>
      <p:graphicFrame>
        <p:nvGraphicFramePr>
          <p:cNvPr id="123" name="Table 122"/>
          <p:cNvGraphicFramePr>
            <a:graphicFrameLocks noGrp="1"/>
          </p:cNvGraphicFramePr>
          <p:nvPr/>
        </p:nvGraphicFramePr>
        <p:xfrm>
          <a:off x="326014" y="2205491"/>
          <a:ext cx="950378" cy="4483392"/>
        </p:xfrm>
        <a:graphic>
          <a:graphicData uri="http://schemas.openxmlformats.org/drawingml/2006/table">
            <a:tbl>
              <a:tblPr/>
              <a:tblGrid>
                <a:gridCol w="9503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69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9.8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2.5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8.4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4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8.3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5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8.0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5.7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1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5.4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86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5.2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58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.9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31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.9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68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.6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43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.3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06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.7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87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b"/>
                      <a:r>
                        <a:rPr lang="en-US" sz="1200" b="1" i="0" u="none" strike="noStrik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4.2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536446" y="1886323"/>
            <a:ext cx="39548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Univers Next Arabic" panose="020B0503030202020203" pitchFamily="34" charset="-78"/>
              </a:rPr>
              <a:t>Percentage Distribution of GDP Constant Price 2010</a:t>
            </a:r>
          </a:p>
        </p:txBody>
      </p:sp>
    </p:spTree>
    <p:extLst>
      <p:ext uri="{BB962C8B-B14F-4D97-AF65-F5344CB8AC3E}">
        <p14:creationId xmlns:p14="http://schemas.microsoft.com/office/powerpoint/2010/main" val="1996869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2972" y="1155760"/>
            <a:ext cx="15007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AD833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UAE Economy</a:t>
            </a:r>
          </a:p>
        </p:txBody>
      </p:sp>
      <p:sp>
        <p:nvSpPr>
          <p:cNvPr id="55" name="Slide Number Placeholder 3">
            <a:extLst>
              <a:ext uri="{FF2B5EF4-FFF2-40B4-BE49-F238E27FC236}">
                <a16:creationId xmlns:a16="http://schemas.microsoft.com/office/drawing/2014/main" id="{7858592C-B9EC-49C1-BDFC-5500D5DC9E0E}"/>
              </a:ext>
            </a:extLst>
          </p:cNvPr>
          <p:cNvSpPr txBox="1">
            <a:spLocks/>
          </p:cNvSpPr>
          <p:nvPr/>
        </p:nvSpPr>
        <p:spPr>
          <a:xfrm flipH="1">
            <a:off x="11622256" y="6295652"/>
            <a:ext cx="478290" cy="32104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bg1"/>
                </a:solidFill>
                <a:latin typeface="Univers Next Arabic" panose="020B0503030202020203" pitchFamily="34" charset="-78"/>
                <a:ea typeface="+mn-ea"/>
                <a:cs typeface="Univers Next Arabic" panose="020B0503030202020203" pitchFamily="34" charset="-78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B119BD-BB28-4F00-BA08-3CD2300E0933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Freeform 404"/>
          <p:cNvSpPr>
            <a:spLocks/>
          </p:cNvSpPr>
          <p:nvPr/>
        </p:nvSpPr>
        <p:spPr bwMode="auto">
          <a:xfrm>
            <a:off x="3271755" y="2813921"/>
            <a:ext cx="270155" cy="393147"/>
          </a:xfrm>
          <a:custGeom>
            <a:avLst/>
            <a:gdLst>
              <a:gd name="T0" fmla="*/ 7 w 40"/>
              <a:gd name="T1" fmla="*/ 0 h 60"/>
              <a:gd name="T2" fmla="*/ 4 w 40"/>
              <a:gd name="T3" fmla="*/ 3 h 60"/>
              <a:gd name="T4" fmla="*/ 2 w 40"/>
              <a:gd name="T5" fmla="*/ 8 h 60"/>
              <a:gd name="T6" fmla="*/ 5 w 40"/>
              <a:gd name="T7" fmla="*/ 14 h 60"/>
              <a:gd name="T8" fmla="*/ 3 w 40"/>
              <a:gd name="T9" fmla="*/ 18 h 60"/>
              <a:gd name="T10" fmla="*/ 3 w 40"/>
              <a:gd name="T11" fmla="*/ 19 h 60"/>
              <a:gd name="T12" fmla="*/ 2 w 40"/>
              <a:gd name="T13" fmla="*/ 23 h 60"/>
              <a:gd name="T14" fmla="*/ 5 w 40"/>
              <a:gd name="T15" fmla="*/ 23 h 60"/>
              <a:gd name="T16" fmla="*/ 7 w 40"/>
              <a:gd name="T17" fmla="*/ 19 h 60"/>
              <a:gd name="T18" fmla="*/ 7 w 40"/>
              <a:gd name="T19" fmla="*/ 23 h 60"/>
              <a:gd name="T20" fmla="*/ 11 w 40"/>
              <a:gd name="T21" fmla="*/ 27 h 60"/>
              <a:gd name="T22" fmla="*/ 14 w 40"/>
              <a:gd name="T23" fmla="*/ 30 h 60"/>
              <a:gd name="T24" fmla="*/ 16 w 40"/>
              <a:gd name="T25" fmla="*/ 36 h 60"/>
              <a:gd name="T26" fmla="*/ 8 w 40"/>
              <a:gd name="T27" fmla="*/ 39 h 60"/>
              <a:gd name="T28" fmla="*/ 9 w 40"/>
              <a:gd name="T29" fmla="*/ 42 h 60"/>
              <a:gd name="T30" fmla="*/ 5 w 40"/>
              <a:gd name="T31" fmla="*/ 47 h 60"/>
              <a:gd name="T32" fmla="*/ 9 w 40"/>
              <a:gd name="T33" fmla="*/ 48 h 60"/>
              <a:gd name="T34" fmla="*/ 18 w 40"/>
              <a:gd name="T35" fmla="*/ 48 h 60"/>
              <a:gd name="T36" fmla="*/ 10 w 40"/>
              <a:gd name="T37" fmla="*/ 52 h 60"/>
              <a:gd name="T38" fmla="*/ 7 w 40"/>
              <a:gd name="T39" fmla="*/ 55 h 60"/>
              <a:gd name="T40" fmla="*/ 3 w 40"/>
              <a:gd name="T41" fmla="*/ 59 h 60"/>
              <a:gd name="T42" fmla="*/ 5 w 40"/>
              <a:gd name="T43" fmla="*/ 60 h 60"/>
              <a:gd name="T44" fmla="*/ 12 w 40"/>
              <a:gd name="T45" fmla="*/ 57 h 60"/>
              <a:gd name="T46" fmla="*/ 19 w 40"/>
              <a:gd name="T47" fmla="*/ 55 h 60"/>
              <a:gd name="T48" fmla="*/ 27 w 40"/>
              <a:gd name="T49" fmla="*/ 54 h 60"/>
              <a:gd name="T50" fmla="*/ 38 w 40"/>
              <a:gd name="T51" fmla="*/ 51 h 60"/>
              <a:gd name="T52" fmla="*/ 38 w 40"/>
              <a:gd name="T53" fmla="*/ 46 h 60"/>
              <a:gd name="T54" fmla="*/ 32 w 40"/>
              <a:gd name="T55" fmla="*/ 41 h 60"/>
              <a:gd name="T56" fmla="*/ 31 w 40"/>
              <a:gd name="T57" fmla="*/ 36 h 60"/>
              <a:gd name="T58" fmla="*/ 30 w 40"/>
              <a:gd name="T59" fmla="*/ 34 h 60"/>
              <a:gd name="T60" fmla="*/ 23 w 40"/>
              <a:gd name="T61" fmla="*/ 25 h 60"/>
              <a:gd name="T62" fmla="*/ 12 w 40"/>
              <a:gd name="T63" fmla="*/ 18 h 60"/>
              <a:gd name="T64" fmla="*/ 14 w 40"/>
              <a:gd name="T65" fmla="*/ 16 h 60"/>
              <a:gd name="T66" fmla="*/ 21 w 40"/>
              <a:gd name="T67" fmla="*/ 8 h 60"/>
              <a:gd name="T68" fmla="*/ 9 w 40"/>
              <a:gd name="T69" fmla="*/ 7 h 60"/>
              <a:gd name="T70" fmla="*/ 9 w 40"/>
              <a:gd name="T71" fmla="*/ 6 h 60"/>
              <a:gd name="T72" fmla="*/ 15 w 40"/>
              <a:gd name="T73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0" h="60">
                <a:moveTo>
                  <a:pt x="15" y="0"/>
                </a:moveTo>
                <a:cubicBezTo>
                  <a:pt x="12" y="0"/>
                  <a:pt x="10" y="1"/>
                  <a:pt x="7" y="0"/>
                </a:cubicBezTo>
                <a:cubicBezTo>
                  <a:pt x="6" y="0"/>
                  <a:pt x="5" y="0"/>
                  <a:pt x="5" y="1"/>
                </a:cubicBezTo>
                <a:cubicBezTo>
                  <a:pt x="6" y="3"/>
                  <a:pt x="5" y="2"/>
                  <a:pt x="4" y="3"/>
                </a:cubicBezTo>
                <a:cubicBezTo>
                  <a:pt x="5" y="2"/>
                  <a:pt x="5" y="4"/>
                  <a:pt x="5" y="4"/>
                </a:cubicBezTo>
                <a:cubicBezTo>
                  <a:pt x="4" y="6"/>
                  <a:pt x="1" y="5"/>
                  <a:pt x="2" y="8"/>
                </a:cubicBezTo>
                <a:cubicBezTo>
                  <a:pt x="4" y="10"/>
                  <a:pt x="3" y="11"/>
                  <a:pt x="2" y="13"/>
                </a:cubicBezTo>
                <a:cubicBezTo>
                  <a:pt x="2" y="15"/>
                  <a:pt x="4" y="15"/>
                  <a:pt x="5" y="14"/>
                </a:cubicBezTo>
                <a:cubicBezTo>
                  <a:pt x="4" y="15"/>
                  <a:pt x="5" y="15"/>
                  <a:pt x="5" y="16"/>
                </a:cubicBezTo>
                <a:cubicBezTo>
                  <a:pt x="5" y="15"/>
                  <a:pt x="3" y="18"/>
                  <a:pt x="3" y="18"/>
                </a:cubicBezTo>
                <a:cubicBezTo>
                  <a:pt x="2" y="18"/>
                  <a:pt x="0" y="18"/>
                  <a:pt x="0" y="20"/>
                </a:cubicBezTo>
                <a:cubicBezTo>
                  <a:pt x="1" y="20"/>
                  <a:pt x="2" y="18"/>
                  <a:pt x="3" y="19"/>
                </a:cubicBezTo>
                <a:cubicBezTo>
                  <a:pt x="3" y="20"/>
                  <a:pt x="3" y="21"/>
                  <a:pt x="3" y="21"/>
                </a:cubicBezTo>
                <a:cubicBezTo>
                  <a:pt x="2" y="22"/>
                  <a:pt x="2" y="23"/>
                  <a:pt x="2" y="23"/>
                </a:cubicBezTo>
                <a:cubicBezTo>
                  <a:pt x="2" y="24"/>
                  <a:pt x="3" y="22"/>
                  <a:pt x="4" y="22"/>
                </a:cubicBezTo>
                <a:cubicBezTo>
                  <a:pt x="4" y="21"/>
                  <a:pt x="5" y="23"/>
                  <a:pt x="5" y="23"/>
                </a:cubicBezTo>
                <a:cubicBezTo>
                  <a:pt x="6" y="23"/>
                  <a:pt x="5" y="19"/>
                  <a:pt x="4" y="19"/>
                </a:cubicBezTo>
                <a:cubicBezTo>
                  <a:pt x="5" y="19"/>
                  <a:pt x="7" y="20"/>
                  <a:pt x="7" y="19"/>
                </a:cubicBezTo>
                <a:cubicBezTo>
                  <a:pt x="7" y="19"/>
                  <a:pt x="6" y="20"/>
                  <a:pt x="6" y="20"/>
                </a:cubicBezTo>
                <a:cubicBezTo>
                  <a:pt x="6" y="21"/>
                  <a:pt x="7" y="22"/>
                  <a:pt x="7" y="23"/>
                </a:cubicBezTo>
                <a:cubicBezTo>
                  <a:pt x="7" y="24"/>
                  <a:pt x="4" y="27"/>
                  <a:pt x="7" y="27"/>
                </a:cubicBezTo>
                <a:cubicBezTo>
                  <a:pt x="7" y="27"/>
                  <a:pt x="10" y="27"/>
                  <a:pt x="11" y="27"/>
                </a:cubicBezTo>
                <a:cubicBezTo>
                  <a:pt x="12" y="26"/>
                  <a:pt x="15" y="26"/>
                  <a:pt x="15" y="26"/>
                </a:cubicBezTo>
                <a:cubicBezTo>
                  <a:pt x="14" y="28"/>
                  <a:pt x="13" y="28"/>
                  <a:pt x="14" y="30"/>
                </a:cubicBezTo>
                <a:cubicBezTo>
                  <a:pt x="15" y="33"/>
                  <a:pt x="15" y="31"/>
                  <a:pt x="16" y="32"/>
                </a:cubicBezTo>
                <a:cubicBezTo>
                  <a:pt x="16" y="33"/>
                  <a:pt x="15" y="35"/>
                  <a:pt x="16" y="36"/>
                </a:cubicBezTo>
                <a:cubicBezTo>
                  <a:pt x="17" y="38"/>
                  <a:pt x="14" y="38"/>
                  <a:pt x="13" y="38"/>
                </a:cubicBezTo>
                <a:cubicBezTo>
                  <a:pt x="11" y="39"/>
                  <a:pt x="10" y="37"/>
                  <a:pt x="8" y="39"/>
                </a:cubicBezTo>
                <a:cubicBezTo>
                  <a:pt x="7" y="41"/>
                  <a:pt x="12" y="40"/>
                  <a:pt x="11" y="41"/>
                </a:cubicBezTo>
                <a:cubicBezTo>
                  <a:pt x="11" y="41"/>
                  <a:pt x="9" y="42"/>
                  <a:pt x="9" y="42"/>
                </a:cubicBezTo>
                <a:cubicBezTo>
                  <a:pt x="9" y="43"/>
                  <a:pt x="10" y="43"/>
                  <a:pt x="9" y="44"/>
                </a:cubicBezTo>
                <a:cubicBezTo>
                  <a:pt x="8" y="45"/>
                  <a:pt x="7" y="46"/>
                  <a:pt x="5" y="47"/>
                </a:cubicBezTo>
                <a:cubicBezTo>
                  <a:pt x="4" y="48"/>
                  <a:pt x="6" y="49"/>
                  <a:pt x="6" y="49"/>
                </a:cubicBezTo>
                <a:cubicBezTo>
                  <a:pt x="7" y="49"/>
                  <a:pt x="9" y="48"/>
                  <a:pt x="9" y="48"/>
                </a:cubicBezTo>
                <a:cubicBezTo>
                  <a:pt x="9" y="49"/>
                  <a:pt x="12" y="49"/>
                  <a:pt x="13" y="50"/>
                </a:cubicBezTo>
                <a:cubicBezTo>
                  <a:pt x="15" y="50"/>
                  <a:pt x="17" y="48"/>
                  <a:pt x="18" y="48"/>
                </a:cubicBezTo>
                <a:cubicBezTo>
                  <a:pt x="18" y="48"/>
                  <a:pt x="16" y="53"/>
                  <a:pt x="13" y="52"/>
                </a:cubicBezTo>
                <a:cubicBezTo>
                  <a:pt x="12" y="51"/>
                  <a:pt x="11" y="52"/>
                  <a:pt x="10" y="52"/>
                </a:cubicBezTo>
                <a:cubicBezTo>
                  <a:pt x="8" y="52"/>
                  <a:pt x="9" y="51"/>
                  <a:pt x="8" y="51"/>
                </a:cubicBezTo>
                <a:cubicBezTo>
                  <a:pt x="8" y="51"/>
                  <a:pt x="8" y="54"/>
                  <a:pt x="7" y="55"/>
                </a:cubicBezTo>
                <a:cubicBezTo>
                  <a:pt x="7" y="55"/>
                  <a:pt x="6" y="56"/>
                  <a:pt x="5" y="57"/>
                </a:cubicBezTo>
                <a:cubicBezTo>
                  <a:pt x="5" y="57"/>
                  <a:pt x="3" y="58"/>
                  <a:pt x="3" y="59"/>
                </a:cubicBezTo>
                <a:cubicBezTo>
                  <a:pt x="3" y="59"/>
                  <a:pt x="5" y="59"/>
                  <a:pt x="5" y="59"/>
                </a:cubicBezTo>
                <a:cubicBezTo>
                  <a:pt x="5" y="59"/>
                  <a:pt x="4" y="59"/>
                  <a:pt x="5" y="60"/>
                </a:cubicBezTo>
                <a:cubicBezTo>
                  <a:pt x="5" y="60"/>
                  <a:pt x="7" y="57"/>
                  <a:pt x="8" y="57"/>
                </a:cubicBezTo>
                <a:cubicBezTo>
                  <a:pt x="9" y="57"/>
                  <a:pt x="11" y="58"/>
                  <a:pt x="12" y="57"/>
                </a:cubicBezTo>
                <a:cubicBezTo>
                  <a:pt x="14" y="57"/>
                  <a:pt x="13" y="55"/>
                  <a:pt x="15" y="55"/>
                </a:cubicBezTo>
                <a:cubicBezTo>
                  <a:pt x="16" y="54"/>
                  <a:pt x="17" y="55"/>
                  <a:pt x="19" y="55"/>
                </a:cubicBezTo>
                <a:cubicBezTo>
                  <a:pt x="20" y="56"/>
                  <a:pt x="21" y="54"/>
                  <a:pt x="23" y="55"/>
                </a:cubicBezTo>
                <a:cubicBezTo>
                  <a:pt x="24" y="56"/>
                  <a:pt x="26" y="55"/>
                  <a:pt x="27" y="54"/>
                </a:cubicBezTo>
                <a:cubicBezTo>
                  <a:pt x="29" y="54"/>
                  <a:pt x="32" y="54"/>
                  <a:pt x="34" y="54"/>
                </a:cubicBezTo>
                <a:cubicBezTo>
                  <a:pt x="34" y="54"/>
                  <a:pt x="38" y="51"/>
                  <a:pt x="38" y="51"/>
                </a:cubicBezTo>
                <a:cubicBezTo>
                  <a:pt x="37" y="50"/>
                  <a:pt x="33" y="51"/>
                  <a:pt x="33" y="50"/>
                </a:cubicBezTo>
                <a:cubicBezTo>
                  <a:pt x="33" y="49"/>
                  <a:pt x="37" y="46"/>
                  <a:pt x="38" y="46"/>
                </a:cubicBezTo>
                <a:cubicBezTo>
                  <a:pt x="39" y="44"/>
                  <a:pt x="40" y="40"/>
                  <a:pt x="36" y="40"/>
                </a:cubicBezTo>
                <a:cubicBezTo>
                  <a:pt x="35" y="40"/>
                  <a:pt x="33" y="41"/>
                  <a:pt x="32" y="41"/>
                </a:cubicBezTo>
                <a:cubicBezTo>
                  <a:pt x="30" y="40"/>
                  <a:pt x="32" y="40"/>
                  <a:pt x="32" y="39"/>
                </a:cubicBezTo>
                <a:cubicBezTo>
                  <a:pt x="32" y="38"/>
                  <a:pt x="32" y="37"/>
                  <a:pt x="31" y="36"/>
                </a:cubicBezTo>
                <a:cubicBezTo>
                  <a:pt x="31" y="36"/>
                  <a:pt x="27" y="35"/>
                  <a:pt x="28" y="34"/>
                </a:cubicBezTo>
                <a:cubicBezTo>
                  <a:pt x="28" y="34"/>
                  <a:pt x="30" y="35"/>
                  <a:pt x="30" y="34"/>
                </a:cubicBezTo>
                <a:cubicBezTo>
                  <a:pt x="31" y="33"/>
                  <a:pt x="30" y="32"/>
                  <a:pt x="29" y="31"/>
                </a:cubicBezTo>
                <a:cubicBezTo>
                  <a:pt x="26" y="29"/>
                  <a:pt x="25" y="29"/>
                  <a:pt x="23" y="25"/>
                </a:cubicBezTo>
                <a:cubicBezTo>
                  <a:pt x="22" y="23"/>
                  <a:pt x="21" y="21"/>
                  <a:pt x="18" y="19"/>
                </a:cubicBezTo>
                <a:cubicBezTo>
                  <a:pt x="17" y="18"/>
                  <a:pt x="13" y="20"/>
                  <a:pt x="12" y="18"/>
                </a:cubicBezTo>
                <a:cubicBezTo>
                  <a:pt x="12" y="18"/>
                  <a:pt x="18" y="17"/>
                  <a:pt x="17" y="16"/>
                </a:cubicBezTo>
                <a:cubicBezTo>
                  <a:pt x="17" y="16"/>
                  <a:pt x="15" y="17"/>
                  <a:pt x="14" y="16"/>
                </a:cubicBezTo>
                <a:cubicBezTo>
                  <a:pt x="14" y="16"/>
                  <a:pt x="18" y="15"/>
                  <a:pt x="18" y="15"/>
                </a:cubicBezTo>
                <a:cubicBezTo>
                  <a:pt x="19" y="14"/>
                  <a:pt x="22" y="9"/>
                  <a:pt x="21" y="8"/>
                </a:cubicBezTo>
                <a:cubicBezTo>
                  <a:pt x="20" y="6"/>
                  <a:pt x="17" y="6"/>
                  <a:pt x="15" y="6"/>
                </a:cubicBezTo>
                <a:cubicBezTo>
                  <a:pt x="14" y="7"/>
                  <a:pt x="9" y="7"/>
                  <a:pt x="9" y="7"/>
                </a:cubicBezTo>
                <a:cubicBezTo>
                  <a:pt x="9" y="7"/>
                  <a:pt x="11" y="6"/>
                  <a:pt x="11" y="6"/>
                </a:cubicBezTo>
                <a:cubicBezTo>
                  <a:pt x="11" y="6"/>
                  <a:pt x="9" y="5"/>
                  <a:pt x="9" y="6"/>
                </a:cubicBezTo>
                <a:cubicBezTo>
                  <a:pt x="9" y="5"/>
                  <a:pt x="18" y="1"/>
                  <a:pt x="15" y="0"/>
                </a:cubicBezTo>
                <a:cubicBezTo>
                  <a:pt x="14" y="0"/>
                  <a:pt x="17" y="1"/>
                  <a:pt x="15" y="0"/>
                </a:cubicBezTo>
                <a:close/>
              </a:path>
            </a:pathLst>
          </a:custGeom>
          <a:solidFill>
            <a:srgbClr val="FFFFFF"/>
          </a:solidFill>
          <a:ln w="4763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Freeform 404"/>
          <p:cNvSpPr>
            <a:spLocks/>
          </p:cNvSpPr>
          <p:nvPr/>
        </p:nvSpPr>
        <p:spPr bwMode="auto">
          <a:xfrm>
            <a:off x="4074149" y="3803145"/>
            <a:ext cx="196052" cy="264863"/>
          </a:xfrm>
          <a:custGeom>
            <a:avLst/>
            <a:gdLst>
              <a:gd name="T0" fmla="*/ 7 w 40"/>
              <a:gd name="T1" fmla="*/ 0 h 60"/>
              <a:gd name="T2" fmla="*/ 4 w 40"/>
              <a:gd name="T3" fmla="*/ 3 h 60"/>
              <a:gd name="T4" fmla="*/ 2 w 40"/>
              <a:gd name="T5" fmla="*/ 8 h 60"/>
              <a:gd name="T6" fmla="*/ 5 w 40"/>
              <a:gd name="T7" fmla="*/ 14 h 60"/>
              <a:gd name="T8" fmla="*/ 3 w 40"/>
              <a:gd name="T9" fmla="*/ 18 h 60"/>
              <a:gd name="T10" fmla="*/ 3 w 40"/>
              <a:gd name="T11" fmla="*/ 19 h 60"/>
              <a:gd name="T12" fmla="*/ 2 w 40"/>
              <a:gd name="T13" fmla="*/ 23 h 60"/>
              <a:gd name="T14" fmla="*/ 5 w 40"/>
              <a:gd name="T15" fmla="*/ 23 h 60"/>
              <a:gd name="T16" fmla="*/ 7 w 40"/>
              <a:gd name="T17" fmla="*/ 19 h 60"/>
              <a:gd name="T18" fmla="*/ 7 w 40"/>
              <a:gd name="T19" fmla="*/ 23 h 60"/>
              <a:gd name="T20" fmla="*/ 11 w 40"/>
              <a:gd name="T21" fmla="*/ 27 h 60"/>
              <a:gd name="T22" fmla="*/ 14 w 40"/>
              <a:gd name="T23" fmla="*/ 30 h 60"/>
              <a:gd name="T24" fmla="*/ 16 w 40"/>
              <a:gd name="T25" fmla="*/ 36 h 60"/>
              <a:gd name="T26" fmla="*/ 8 w 40"/>
              <a:gd name="T27" fmla="*/ 39 h 60"/>
              <a:gd name="T28" fmla="*/ 9 w 40"/>
              <a:gd name="T29" fmla="*/ 42 h 60"/>
              <a:gd name="T30" fmla="*/ 5 w 40"/>
              <a:gd name="T31" fmla="*/ 47 h 60"/>
              <a:gd name="T32" fmla="*/ 9 w 40"/>
              <a:gd name="T33" fmla="*/ 48 h 60"/>
              <a:gd name="T34" fmla="*/ 18 w 40"/>
              <a:gd name="T35" fmla="*/ 48 h 60"/>
              <a:gd name="T36" fmla="*/ 10 w 40"/>
              <a:gd name="T37" fmla="*/ 52 h 60"/>
              <a:gd name="T38" fmla="*/ 7 w 40"/>
              <a:gd name="T39" fmla="*/ 55 h 60"/>
              <a:gd name="T40" fmla="*/ 3 w 40"/>
              <a:gd name="T41" fmla="*/ 59 h 60"/>
              <a:gd name="T42" fmla="*/ 5 w 40"/>
              <a:gd name="T43" fmla="*/ 60 h 60"/>
              <a:gd name="T44" fmla="*/ 12 w 40"/>
              <a:gd name="T45" fmla="*/ 57 h 60"/>
              <a:gd name="T46" fmla="*/ 19 w 40"/>
              <a:gd name="T47" fmla="*/ 55 h 60"/>
              <a:gd name="T48" fmla="*/ 27 w 40"/>
              <a:gd name="T49" fmla="*/ 54 h 60"/>
              <a:gd name="T50" fmla="*/ 38 w 40"/>
              <a:gd name="T51" fmla="*/ 51 h 60"/>
              <a:gd name="T52" fmla="*/ 38 w 40"/>
              <a:gd name="T53" fmla="*/ 46 h 60"/>
              <a:gd name="T54" fmla="*/ 32 w 40"/>
              <a:gd name="T55" fmla="*/ 41 h 60"/>
              <a:gd name="T56" fmla="*/ 31 w 40"/>
              <a:gd name="T57" fmla="*/ 36 h 60"/>
              <a:gd name="T58" fmla="*/ 30 w 40"/>
              <a:gd name="T59" fmla="*/ 34 h 60"/>
              <a:gd name="T60" fmla="*/ 23 w 40"/>
              <a:gd name="T61" fmla="*/ 25 h 60"/>
              <a:gd name="T62" fmla="*/ 12 w 40"/>
              <a:gd name="T63" fmla="*/ 18 h 60"/>
              <a:gd name="T64" fmla="*/ 14 w 40"/>
              <a:gd name="T65" fmla="*/ 16 h 60"/>
              <a:gd name="T66" fmla="*/ 21 w 40"/>
              <a:gd name="T67" fmla="*/ 8 h 60"/>
              <a:gd name="T68" fmla="*/ 9 w 40"/>
              <a:gd name="T69" fmla="*/ 7 h 60"/>
              <a:gd name="T70" fmla="*/ 9 w 40"/>
              <a:gd name="T71" fmla="*/ 6 h 60"/>
              <a:gd name="T72" fmla="*/ 15 w 40"/>
              <a:gd name="T73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0" h="60">
                <a:moveTo>
                  <a:pt x="15" y="0"/>
                </a:moveTo>
                <a:cubicBezTo>
                  <a:pt x="12" y="0"/>
                  <a:pt x="10" y="1"/>
                  <a:pt x="7" y="0"/>
                </a:cubicBezTo>
                <a:cubicBezTo>
                  <a:pt x="6" y="0"/>
                  <a:pt x="5" y="0"/>
                  <a:pt x="5" y="1"/>
                </a:cubicBezTo>
                <a:cubicBezTo>
                  <a:pt x="6" y="3"/>
                  <a:pt x="5" y="2"/>
                  <a:pt x="4" y="3"/>
                </a:cubicBezTo>
                <a:cubicBezTo>
                  <a:pt x="5" y="2"/>
                  <a:pt x="5" y="4"/>
                  <a:pt x="5" y="4"/>
                </a:cubicBezTo>
                <a:cubicBezTo>
                  <a:pt x="4" y="6"/>
                  <a:pt x="1" y="5"/>
                  <a:pt x="2" y="8"/>
                </a:cubicBezTo>
                <a:cubicBezTo>
                  <a:pt x="4" y="10"/>
                  <a:pt x="3" y="11"/>
                  <a:pt x="2" y="13"/>
                </a:cubicBezTo>
                <a:cubicBezTo>
                  <a:pt x="2" y="15"/>
                  <a:pt x="4" y="15"/>
                  <a:pt x="5" y="14"/>
                </a:cubicBezTo>
                <a:cubicBezTo>
                  <a:pt x="4" y="15"/>
                  <a:pt x="5" y="15"/>
                  <a:pt x="5" y="16"/>
                </a:cubicBezTo>
                <a:cubicBezTo>
                  <a:pt x="5" y="15"/>
                  <a:pt x="3" y="18"/>
                  <a:pt x="3" y="18"/>
                </a:cubicBezTo>
                <a:cubicBezTo>
                  <a:pt x="2" y="18"/>
                  <a:pt x="0" y="18"/>
                  <a:pt x="0" y="20"/>
                </a:cubicBezTo>
                <a:cubicBezTo>
                  <a:pt x="1" y="20"/>
                  <a:pt x="2" y="18"/>
                  <a:pt x="3" y="19"/>
                </a:cubicBezTo>
                <a:cubicBezTo>
                  <a:pt x="3" y="20"/>
                  <a:pt x="3" y="21"/>
                  <a:pt x="3" y="21"/>
                </a:cubicBezTo>
                <a:cubicBezTo>
                  <a:pt x="2" y="22"/>
                  <a:pt x="2" y="23"/>
                  <a:pt x="2" y="23"/>
                </a:cubicBezTo>
                <a:cubicBezTo>
                  <a:pt x="2" y="24"/>
                  <a:pt x="3" y="22"/>
                  <a:pt x="4" y="22"/>
                </a:cubicBezTo>
                <a:cubicBezTo>
                  <a:pt x="4" y="21"/>
                  <a:pt x="5" y="23"/>
                  <a:pt x="5" y="23"/>
                </a:cubicBezTo>
                <a:cubicBezTo>
                  <a:pt x="6" y="23"/>
                  <a:pt x="5" y="19"/>
                  <a:pt x="4" y="19"/>
                </a:cubicBezTo>
                <a:cubicBezTo>
                  <a:pt x="5" y="19"/>
                  <a:pt x="7" y="20"/>
                  <a:pt x="7" y="19"/>
                </a:cubicBezTo>
                <a:cubicBezTo>
                  <a:pt x="7" y="19"/>
                  <a:pt x="6" y="20"/>
                  <a:pt x="6" y="20"/>
                </a:cubicBezTo>
                <a:cubicBezTo>
                  <a:pt x="6" y="21"/>
                  <a:pt x="7" y="22"/>
                  <a:pt x="7" y="23"/>
                </a:cubicBezTo>
                <a:cubicBezTo>
                  <a:pt x="7" y="24"/>
                  <a:pt x="4" y="27"/>
                  <a:pt x="7" y="27"/>
                </a:cubicBezTo>
                <a:cubicBezTo>
                  <a:pt x="7" y="27"/>
                  <a:pt x="10" y="27"/>
                  <a:pt x="11" y="27"/>
                </a:cubicBezTo>
                <a:cubicBezTo>
                  <a:pt x="12" y="26"/>
                  <a:pt x="15" y="26"/>
                  <a:pt x="15" y="26"/>
                </a:cubicBezTo>
                <a:cubicBezTo>
                  <a:pt x="14" y="28"/>
                  <a:pt x="13" y="28"/>
                  <a:pt x="14" y="30"/>
                </a:cubicBezTo>
                <a:cubicBezTo>
                  <a:pt x="15" y="33"/>
                  <a:pt x="15" y="31"/>
                  <a:pt x="16" y="32"/>
                </a:cubicBezTo>
                <a:cubicBezTo>
                  <a:pt x="16" y="33"/>
                  <a:pt x="15" y="35"/>
                  <a:pt x="16" y="36"/>
                </a:cubicBezTo>
                <a:cubicBezTo>
                  <a:pt x="17" y="38"/>
                  <a:pt x="14" y="38"/>
                  <a:pt x="13" y="38"/>
                </a:cubicBezTo>
                <a:cubicBezTo>
                  <a:pt x="11" y="39"/>
                  <a:pt x="10" y="37"/>
                  <a:pt x="8" y="39"/>
                </a:cubicBezTo>
                <a:cubicBezTo>
                  <a:pt x="7" y="41"/>
                  <a:pt x="12" y="40"/>
                  <a:pt x="11" y="41"/>
                </a:cubicBezTo>
                <a:cubicBezTo>
                  <a:pt x="11" y="41"/>
                  <a:pt x="9" y="42"/>
                  <a:pt x="9" y="42"/>
                </a:cubicBezTo>
                <a:cubicBezTo>
                  <a:pt x="9" y="43"/>
                  <a:pt x="10" y="43"/>
                  <a:pt x="9" y="44"/>
                </a:cubicBezTo>
                <a:cubicBezTo>
                  <a:pt x="8" y="45"/>
                  <a:pt x="7" y="46"/>
                  <a:pt x="5" y="47"/>
                </a:cubicBezTo>
                <a:cubicBezTo>
                  <a:pt x="4" y="48"/>
                  <a:pt x="6" y="49"/>
                  <a:pt x="6" y="49"/>
                </a:cubicBezTo>
                <a:cubicBezTo>
                  <a:pt x="7" y="49"/>
                  <a:pt x="9" y="48"/>
                  <a:pt x="9" y="48"/>
                </a:cubicBezTo>
                <a:cubicBezTo>
                  <a:pt x="9" y="49"/>
                  <a:pt x="12" y="49"/>
                  <a:pt x="13" y="50"/>
                </a:cubicBezTo>
                <a:cubicBezTo>
                  <a:pt x="15" y="50"/>
                  <a:pt x="17" y="48"/>
                  <a:pt x="18" y="48"/>
                </a:cubicBezTo>
                <a:cubicBezTo>
                  <a:pt x="18" y="48"/>
                  <a:pt x="16" y="53"/>
                  <a:pt x="13" y="52"/>
                </a:cubicBezTo>
                <a:cubicBezTo>
                  <a:pt x="12" y="51"/>
                  <a:pt x="11" y="52"/>
                  <a:pt x="10" y="52"/>
                </a:cubicBezTo>
                <a:cubicBezTo>
                  <a:pt x="8" y="52"/>
                  <a:pt x="9" y="51"/>
                  <a:pt x="8" y="51"/>
                </a:cubicBezTo>
                <a:cubicBezTo>
                  <a:pt x="8" y="51"/>
                  <a:pt x="8" y="54"/>
                  <a:pt x="7" y="55"/>
                </a:cubicBezTo>
                <a:cubicBezTo>
                  <a:pt x="7" y="55"/>
                  <a:pt x="6" y="56"/>
                  <a:pt x="5" y="57"/>
                </a:cubicBezTo>
                <a:cubicBezTo>
                  <a:pt x="5" y="57"/>
                  <a:pt x="3" y="58"/>
                  <a:pt x="3" y="59"/>
                </a:cubicBezTo>
                <a:cubicBezTo>
                  <a:pt x="3" y="59"/>
                  <a:pt x="5" y="59"/>
                  <a:pt x="5" y="59"/>
                </a:cubicBezTo>
                <a:cubicBezTo>
                  <a:pt x="5" y="59"/>
                  <a:pt x="4" y="59"/>
                  <a:pt x="5" y="60"/>
                </a:cubicBezTo>
                <a:cubicBezTo>
                  <a:pt x="5" y="60"/>
                  <a:pt x="7" y="57"/>
                  <a:pt x="8" y="57"/>
                </a:cubicBezTo>
                <a:cubicBezTo>
                  <a:pt x="9" y="57"/>
                  <a:pt x="11" y="58"/>
                  <a:pt x="12" y="57"/>
                </a:cubicBezTo>
                <a:cubicBezTo>
                  <a:pt x="14" y="57"/>
                  <a:pt x="13" y="55"/>
                  <a:pt x="15" y="55"/>
                </a:cubicBezTo>
                <a:cubicBezTo>
                  <a:pt x="16" y="54"/>
                  <a:pt x="17" y="55"/>
                  <a:pt x="19" y="55"/>
                </a:cubicBezTo>
                <a:cubicBezTo>
                  <a:pt x="20" y="56"/>
                  <a:pt x="21" y="54"/>
                  <a:pt x="23" y="55"/>
                </a:cubicBezTo>
                <a:cubicBezTo>
                  <a:pt x="24" y="56"/>
                  <a:pt x="26" y="55"/>
                  <a:pt x="27" y="54"/>
                </a:cubicBezTo>
                <a:cubicBezTo>
                  <a:pt x="29" y="54"/>
                  <a:pt x="32" y="54"/>
                  <a:pt x="34" y="54"/>
                </a:cubicBezTo>
                <a:cubicBezTo>
                  <a:pt x="34" y="54"/>
                  <a:pt x="38" y="51"/>
                  <a:pt x="38" y="51"/>
                </a:cubicBezTo>
                <a:cubicBezTo>
                  <a:pt x="37" y="50"/>
                  <a:pt x="33" y="51"/>
                  <a:pt x="33" y="50"/>
                </a:cubicBezTo>
                <a:cubicBezTo>
                  <a:pt x="33" y="49"/>
                  <a:pt x="37" y="46"/>
                  <a:pt x="38" y="46"/>
                </a:cubicBezTo>
                <a:cubicBezTo>
                  <a:pt x="39" y="44"/>
                  <a:pt x="40" y="40"/>
                  <a:pt x="36" y="40"/>
                </a:cubicBezTo>
                <a:cubicBezTo>
                  <a:pt x="35" y="40"/>
                  <a:pt x="33" y="41"/>
                  <a:pt x="32" y="41"/>
                </a:cubicBezTo>
                <a:cubicBezTo>
                  <a:pt x="30" y="40"/>
                  <a:pt x="32" y="40"/>
                  <a:pt x="32" y="39"/>
                </a:cubicBezTo>
                <a:cubicBezTo>
                  <a:pt x="32" y="38"/>
                  <a:pt x="32" y="37"/>
                  <a:pt x="31" y="36"/>
                </a:cubicBezTo>
                <a:cubicBezTo>
                  <a:pt x="31" y="36"/>
                  <a:pt x="27" y="35"/>
                  <a:pt x="28" y="34"/>
                </a:cubicBezTo>
                <a:cubicBezTo>
                  <a:pt x="28" y="34"/>
                  <a:pt x="30" y="35"/>
                  <a:pt x="30" y="34"/>
                </a:cubicBezTo>
                <a:cubicBezTo>
                  <a:pt x="31" y="33"/>
                  <a:pt x="30" y="32"/>
                  <a:pt x="29" y="31"/>
                </a:cubicBezTo>
                <a:cubicBezTo>
                  <a:pt x="26" y="29"/>
                  <a:pt x="25" y="29"/>
                  <a:pt x="23" y="25"/>
                </a:cubicBezTo>
                <a:cubicBezTo>
                  <a:pt x="22" y="23"/>
                  <a:pt x="21" y="21"/>
                  <a:pt x="18" y="19"/>
                </a:cubicBezTo>
                <a:cubicBezTo>
                  <a:pt x="17" y="18"/>
                  <a:pt x="13" y="20"/>
                  <a:pt x="12" y="18"/>
                </a:cubicBezTo>
                <a:cubicBezTo>
                  <a:pt x="12" y="18"/>
                  <a:pt x="18" y="17"/>
                  <a:pt x="17" y="16"/>
                </a:cubicBezTo>
                <a:cubicBezTo>
                  <a:pt x="17" y="16"/>
                  <a:pt x="15" y="17"/>
                  <a:pt x="14" y="16"/>
                </a:cubicBezTo>
                <a:cubicBezTo>
                  <a:pt x="14" y="16"/>
                  <a:pt x="18" y="15"/>
                  <a:pt x="18" y="15"/>
                </a:cubicBezTo>
                <a:cubicBezTo>
                  <a:pt x="19" y="14"/>
                  <a:pt x="22" y="9"/>
                  <a:pt x="21" y="8"/>
                </a:cubicBezTo>
                <a:cubicBezTo>
                  <a:pt x="20" y="6"/>
                  <a:pt x="17" y="6"/>
                  <a:pt x="15" y="6"/>
                </a:cubicBezTo>
                <a:cubicBezTo>
                  <a:pt x="14" y="7"/>
                  <a:pt x="9" y="7"/>
                  <a:pt x="9" y="7"/>
                </a:cubicBezTo>
                <a:cubicBezTo>
                  <a:pt x="9" y="7"/>
                  <a:pt x="11" y="6"/>
                  <a:pt x="11" y="6"/>
                </a:cubicBezTo>
                <a:cubicBezTo>
                  <a:pt x="11" y="6"/>
                  <a:pt x="9" y="5"/>
                  <a:pt x="9" y="6"/>
                </a:cubicBezTo>
                <a:cubicBezTo>
                  <a:pt x="9" y="5"/>
                  <a:pt x="18" y="1"/>
                  <a:pt x="15" y="0"/>
                </a:cubicBezTo>
                <a:cubicBezTo>
                  <a:pt x="14" y="0"/>
                  <a:pt x="17" y="1"/>
                  <a:pt x="15" y="0"/>
                </a:cubicBezTo>
                <a:close/>
              </a:path>
            </a:pathLst>
          </a:custGeom>
          <a:solidFill>
            <a:srgbClr val="FFFFFF"/>
          </a:solidFill>
          <a:ln w="4763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656D78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8" name="Picture 2" descr="D:\Desktop\DT\Desktop\الانجاز\2018\03\Switzerland Map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9590" y="5086987"/>
            <a:ext cx="192209" cy="121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405213" y="4140189"/>
            <a:ext cx="257914" cy="255493"/>
          </a:xfrm>
          <a:prstGeom prst="rect">
            <a:avLst/>
          </a:prstGeom>
        </p:spPr>
      </p:pic>
      <p:grpSp>
        <p:nvGrpSpPr>
          <p:cNvPr id="60" name="Group 59"/>
          <p:cNvGrpSpPr/>
          <p:nvPr/>
        </p:nvGrpSpPr>
        <p:grpSpPr>
          <a:xfrm>
            <a:off x="1160123" y="2762921"/>
            <a:ext cx="5408028" cy="3796929"/>
            <a:chOff x="5386825" y="2138470"/>
            <a:chExt cx="6133069" cy="4586023"/>
          </a:xfrm>
        </p:grpSpPr>
        <p:grpSp>
          <p:nvGrpSpPr>
            <p:cNvPr id="61" name="Group 60"/>
            <p:cNvGrpSpPr/>
            <p:nvPr/>
          </p:nvGrpSpPr>
          <p:grpSpPr>
            <a:xfrm>
              <a:off x="5386825" y="2138470"/>
              <a:ext cx="6133069" cy="4586023"/>
              <a:chOff x="-125591" y="2177761"/>
              <a:chExt cx="6133069" cy="4586023"/>
            </a:xfrm>
          </p:grpSpPr>
          <p:sp>
            <p:nvSpPr>
              <p:cNvPr id="68" name="Freeform 275"/>
              <p:cNvSpPr>
                <a:spLocks/>
              </p:cNvSpPr>
              <p:nvPr/>
            </p:nvSpPr>
            <p:spPr bwMode="auto">
              <a:xfrm>
                <a:off x="4071307" y="4365752"/>
                <a:ext cx="613732" cy="616477"/>
              </a:xfrm>
              <a:custGeom>
                <a:avLst/>
                <a:gdLst>
                  <a:gd name="T0" fmla="*/ 40 w 88"/>
                  <a:gd name="T1" fmla="*/ 12 h 98"/>
                  <a:gd name="T2" fmla="*/ 0 w 88"/>
                  <a:gd name="T3" fmla="*/ 24 h 98"/>
                  <a:gd name="T4" fmla="*/ 8 w 88"/>
                  <a:gd name="T5" fmla="*/ 71 h 98"/>
                  <a:gd name="T6" fmla="*/ 7 w 88"/>
                  <a:gd name="T7" fmla="*/ 85 h 98"/>
                  <a:gd name="T8" fmla="*/ 86 w 88"/>
                  <a:gd name="T9" fmla="*/ 98 h 98"/>
                  <a:gd name="T10" fmla="*/ 88 w 88"/>
                  <a:gd name="T11" fmla="*/ 77 h 98"/>
                  <a:gd name="T12" fmla="*/ 61 w 88"/>
                  <a:gd name="T13" fmla="*/ 49 h 98"/>
                  <a:gd name="T14" fmla="*/ 85 w 88"/>
                  <a:gd name="T15" fmla="*/ 22 h 98"/>
                  <a:gd name="T16" fmla="*/ 80 w 88"/>
                  <a:gd name="T17" fmla="*/ 0 h 98"/>
                  <a:gd name="T18" fmla="*/ 64 w 88"/>
                  <a:gd name="T19" fmla="*/ 4 h 98"/>
                  <a:gd name="T20" fmla="*/ 64 w 88"/>
                  <a:gd name="T21" fmla="*/ 4 h 98"/>
                  <a:gd name="T22" fmla="*/ 40 w 88"/>
                  <a:gd name="T23" fmla="*/ 1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8" h="98">
                    <a:moveTo>
                      <a:pt x="40" y="12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5" y="39"/>
                      <a:pt x="8" y="54"/>
                      <a:pt x="8" y="71"/>
                    </a:cubicBezTo>
                    <a:cubicBezTo>
                      <a:pt x="8" y="76"/>
                      <a:pt x="8" y="81"/>
                      <a:pt x="7" y="85"/>
                    </a:cubicBezTo>
                    <a:cubicBezTo>
                      <a:pt x="86" y="98"/>
                      <a:pt x="86" y="98"/>
                      <a:pt x="86" y="98"/>
                    </a:cubicBezTo>
                    <a:cubicBezTo>
                      <a:pt x="87" y="91"/>
                      <a:pt x="88" y="84"/>
                      <a:pt x="88" y="77"/>
                    </a:cubicBezTo>
                    <a:cubicBezTo>
                      <a:pt x="73" y="77"/>
                      <a:pt x="61" y="64"/>
                      <a:pt x="61" y="49"/>
                    </a:cubicBezTo>
                    <a:cubicBezTo>
                      <a:pt x="61" y="35"/>
                      <a:pt x="71" y="23"/>
                      <a:pt x="85" y="22"/>
                    </a:cubicBezTo>
                    <a:cubicBezTo>
                      <a:pt x="83" y="14"/>
                      <a:pt x="82" y="7"/>
                      <a:pt x="80" y="0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4"/>
                      <a:pt x="64" y="4"/>
                      <a:pt x="64" y="4"/>
                    </a:cubicBezTo>
                    <a:lnTo>
                      <a:pt x="40" y="12"/>
                    </a:lnTo>
                    <a:close/>
                  </a:path>
                </a:pathLst>
              </a:custGeom>
              <a:solidFill>
                <a:srgbClr val="B22600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" name="AutoShape 271"/>
              <p:cNvSpPr>
                <a:spLocks noChangeAspect="1" noChangeArrowheads="1" noTextEdit="1"/>
              </p:cNvSpPr>
              <p:nvPr/>
            </p:nvSpPr>
            <p:spPr bwMode="auto">
              <a:xfrm>
                <a:off x="1326648" y="2405997"/>
                <a:ext cx="3303003" cy="4017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" name="Freeform 273"/>
              <p:cNvSpPr>
                <a:spLocks/>
              </p:cNvSpPr>
              <p:nvPr/>
            </p:nvSpPr>
            <p:spPr bwMode="auto">
              <a:xfrm>
                <a:off x="2011208" y="2401718"/>
                <a:ext cx="1390513" cy="1754186"/>
              </a:xfrm>
              <a:custGeom>
                <a:avLst/>
                <a:gdLst>
                  <a:gd name="T0" fmla="*/ 153 w 274"/>
                  <a:gd name="T1" fmla="*/ 27 h 346"/>
                  <a:gd name="T2" fmla="*/ 126 w 274"/>
                  <a:gd name="T3" fmla="*/ 54 h 346"/>
                  <a:gd name="T4" fmla="*/ 99 w 274"/>
                  <a:gd name="T5" fmla="*/ 35 h 346"/>
                  <a:gd name="T6" fmla="*/ 0 w 274"/>
                  <a:gd name="T7" fmla="*/ 93 h 346"/>
                  <a:gd name="T8" fmla="*/ 17 w 274"/>
                  <a:gd name="T9" fmla="*/ 116 h 346"/>
                  <a:gd name="T10" fmla="*/ 17 w 274"/>
                  <a:gd name="T11" fmla="*/ 116 h 346"/>
                  <a:gd name="T12" fmla="*/ 193 w 274"/>
                  <a:gd name="T13" fmla="*/ 346 h 346"/>
                  <a:gd name="T14" fmla="*/ 273 w 274"/>
                  <a:gd name="T15" fmla="*/ 321 h 346"/>
                  <a:gd name="T16" fmla="*/ 274 w 274"/>
                  <a:gd name="T17" fmla="*/ 321 h 346"/>
                  <a:gd name="T18" fmla="*/ 274 w 274"/>
                  <a:gd name="T19" fmla="*/ 0 h 346"/>
                  <a:gd name="T20" fmla="*/ 151 w 274"/>
                  <a:gd name="T21" fmla="*/ 17 h 346"/>
                  <a:gd name="T22" fmla="*/ 153 w 274"/>
                  <a:gd name="T23" fmla="*/ 2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4" h="346">
                    <a:moveTo>
                      <a:pt x="153" y="27"/>
                    </a:moveTo>
                    <a:cubicBezTo>
                      <a:pt x="153" y="42"/>
                      <a:pt x="141" y="54"/>
                      <a:pt x="126" y="54"/>
                    </a:cubicBezTo>
                    <a:cubicBezTo>
                      <a:pt x="113" y="54"/>
                      <a:pt x="103" y="46"/>
                      <a:pt x="99" y="35"/>
                    </a:cubicBezTo>
                    <a:cubicBezTo>
                      <a:pt x="64" y="50"/>
                      <a:pt x="30" y="70"/>
                      <a:pt x="0" y="93"/>
                    </a:cubicBezTo>
                    <a:cubicBezTo>
                      <a:pt x="17" y="116"/>
                      <a:pt x="17" y="116"/>
                      <a:pt x="17" y="116"/>
                    </a:cubicBezTo>
                    <a:cubicBezTo>
                      <a:pt x="17" y="116"/>
                      <a:pt x="17" y="116"/>
                      <a:pt x="17" y="116"/>
                    </a:cubicBezTo>
                    <a:cubicBezTo>
                      <a:pt x="193" y="346"/>
                      <a:pt x="193" y="346"/>
                      <a:pt x="193" y="346"/>
                    </a:cubicBezTo>
                    <a:cubicBezTo>
                      <a:pt x="215" y="330"/>
                      <a:pt x="243" y="321"/>
                      <a:pt x="273" y="321"/>
                    </a:cubicBezTo>
                    <a:cubicBezTo>
                      <a:pt x="274" y="321"/>
                      <a:pt x="274" y="321"/>
                      <a:pt x="274" y="321"/>
                    </a:cubicBezTo>
                    <a:cubicBezTo>
                      <a:pt x="274" y="0"/>
                      <a:pt x="274" y="0"/>
                      <a:pt x="274" y="0"/>
                    </a:cubicBezTo>
                    <a:cubicBezTo>
                      <a:pt x="232" y="0"/>
                      <a:pt x="190" y="6"/>
                      <a:pt x="151" y="17"/>
                    </a:cubicBezTo>
                    <a:cubicBezTo>
                      <a:pt x="152" y="20"/>
                      <a:pt x="153" y="23"/>
                      <a:pt x="153" y="27"/>
                    </a:cubicBezTo>
                    <a:close/>
                  </a:path>
                </a:pathLst>
              </a:custGeom>
              <a:solidFill>
                <a:srgbClr val="44546A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" name="Freeform 274"/>
              <p:cNvSpPr>
                <a:spLocks/>
              </p:cNvSpPr>
              <p:nvPr/>
            </p:nvSpPr>
            <p:spPr bwMode="auto">
              <a:xfrm>
                <a:off x="1326648" y="2990012"/>
                <a:ext cx="1664337" cy="1525286"/>
              </a:xfrm>
              <a:custGeom>
                <a:avLst/>
                <a:gdLst>
                  <a:gd name="T0" fmla="*/ 328 w 328"/>
                  <a:gd name="T1" fmla="*/ 230 h 301"/>
                  <a:gd name="T2" fmla="*/ 152 w 328"/>
                  <a:gd name="T3" fmla="*/ 0 h 301"/>
                  <a:gd name="T4" fmla="*/ 152 w 328"/>
                  <a:gd name="T5" fmla="*/ 0 h 301"/>
                  <a:gd name="T6" fmla="*/ 79 w 328"/>
                  <a:gd name="T7" fmla="*/ 71 h 301"/>
                  <a:gd name="T8" fmla="*/ 94 w 328"/>
                  <a:gd name="T9" fmla="*/ 95 h 301"/>
                  <a:gd name="T10" fmla="*/ 66 w 328"/>
                  <a:gd name="T11" fmla="*/ 123 h 301"/>
                  <a:gd name="T12" fmla="*/ 48 w 328"/>
                  <a:gd name="T13" fmla="*/ 115 h 301"/>
                  <a:gd name="T14" fmla="*/ 0 w 328"/>
                  <a:gd name="T15" fmla="*/ 226 h 301"/>
                  <a:gd name="T16" fmla="*/ 275 w 328"/>
                  <a:gd name="T17" fmla="*/ 301 h 301"/>
                  <a:gd name="T18" fmla="*/ 328 w 328"/>
                  <a:gd name="T19" fmla="*/ 23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8" h="301">
                    <a:moveTo>
                      <a:pt x="328" y="230"/>
                    </a:moveTo>
                    <a:cubicBezTo>
                      <a:pt x="152" y="0"/>
                      <a:pt x="152" y="0"/>
                      <a:pt x="152" y="0"/>
                    </a:cubicBezTo>
                    <a:cubicBezTo>
                      <a:pt x="152" y="0"/>
                      <a:pt x="152" y="0"/>
                      <a:pt x="152" y="0"/>
                    </a:cubicBezTo>
                    <a:cubicBezTo>
                      <a:pt x="125" y="20"/>
                      <a:pt x="101" y="44"/>
                      <a:pt x="79" y="71"/>
                    </a:cubicBezTo>
                    <a:cubicBezTo>
                      <a:pt x="88" y="75"/>
                      <a:pt x="94" y="85"/>
                      <a:pt x="94" y="95"/>
                    </a:cubicBezTo>
                    <a:cubicBezTo>
                      <a:pt x="94" y="110"/>
                      <a:pt x="81" y="123"/>
                      <a:pt x="66" y="123"/>
                    </a:cubicBezTo>
                    <a:cubicBezTo>
                      <a:pt x="59" y="123"/>
                      <a:pt x="53" y="120"/>
                      <a:pt x="48" y="115"/>
                    </a:cubicBezTo>
                    <a:cubicBezTo>
                      <a:pt x="27" y="150"/>
                      <a:pt x="11" y="187"/>
                      <a:pt x="0" y="226"/>
                    </a:cubicBezTo>
                    <a:cubicBezTo>
                      <a:pt x="275" y="301"/>
                      <a:pt x="275" y="301"/>
                      <a:pt x="275" y="301"/>
                    </a:cubicBezTo>
                    <a:cubicBezTo>
                      <a:pt x="284" y="272"/>
                      <a:pt x="303" y="248"/>
                      <a:pt x="328" y="230"/>
                    </a:cubicBezTo>
                    <a:close/>
                  </a:path>
                </a:pathLst>
              </a:custGeom>
              <a:solidFill>
                <a:srgbClr val="E84C22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" name="Freeform 278"/>
              <p:cNvSpPr>
                <a:spLocks/>
              </p:cNvSpPr>
              <p:nvPr/>
            </p:nvSpPr>
            <p:spPr bwMode="auto">
              <a:xfrm>
                <a:off x="3876089" y="4891388"/>
                <a:ext cx="844691" cy="744299"/>
              </a:xfrm>
              <a:custGeom>
                <a:avLst/>
                <a:gdLst>
                  <a:gd name="T0" fmla="*/ 38 w 141"/>
                  <a:gd name="T1" fmla="*/ 0 h 153"/>
                  <a:gd name="T2" fmla="*/ 0 w 141"/>
                  <a:gd name="T3" fmla="*/ 83 h 153"/>
                  <a:gd name="T4" fmla="*/ 67 w 141"/>
                  <a:gd name="T5" fmla="*/ 153 h 153"/>
                  <a:gd name="T6" fmla="*/ 102 w 141"/>
                  <a:gd name="T7" fmla="*/ 112 h 153"/>
                  <a:gd name="T8" fmla="*/ 89 w 141"/>
                  <a:gd name="T9" fmla="*/ 88 h 153"/>
                  <a:gd name="T10" fmla="*/ 116 w 141"/>
                  <a:gd name="T11" fmla="*/ 60 h 153"/>
                  <a:gd name="T12" fmla="*/ 128 w 141"/>
                  <a:gd name="T13" fmla="*/ 63 h 153"/>
                  <a:gd name="T14" fmla="*/ 141 w 141"/>
                  <a:gd name="T15" fmla="*/ 17 h 153"/>
                  <a:gd name="T16" fmla="*/ 117 w 141"/>
                  <a:gd name="T17" fmla="*/ 13 h 153"/>
                  <a:gd name="T18" fmla="*/ 38 w 141"/>
                  <a:gd name="T19" fmla="*/ 0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1" h="153">
                    <a:moveTo>
                      <a:pt x="38" y="0"/>
                    </a:moveTo>
                    <a:cubicBezTo>
                      <a:pt x="35" y="32"/>
                      <a:pt x="21" y="61"/>
                      <a:pt x="0" y="83"/>
                    </a:cubicBezTo>
                    <a:cubicBezTo>
                      <a:pt x="67" y="153"/>
                      <a:pt x="67" y="153"/>
                      <a:pt x="67" y="153"/>
                    </a:cubicBezTo>
                    <a:cubicBezTo>
                      <a:pt x="80" y="141"/>
                      <a:pt x="92" y="127"/>
                      <a:pt x="102" y="112"/>
                    </a:cubicBezTo>
                    <a:cubicBezTo>
                      <a:pt x="94" y="107"/>
                      <a:pt x="89" y="98"/>
                      <a:pt x="89" y="88"/>
                    </a:cubicBezTo>
                    <a:cubicBezTo>
                      <a:pt x="89" y="73"/>
                      <a:pt x="101" y="60"/>
                      <a:pt x="116" y="60"/>
                    </a:cubicBezTo>
                    <a:cubicBezTo>
                      <a:pt x="120" y="60"/>
                      <a:pt x="124" y="61"/>
                      <a:pt x="128" y="63"/>
                    </a:cubicBezTo>
                    <a:cubicBezTo>
                      <a:pt x="134" y="48"/>
                      <a:pt x="138" y="33"/>
                      <a:pt x="141" y="17"/>
                    </a:cubicBezTo>
                    <a:cubicBezTo>
                      <a:pt x="117" y="13"/>
                      <a:pt x="117" y="13"/>
                      <a:pt x="117" y="13"/>
                    </a:cubicBez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CC9900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" name="Freeform 279"/>
              <p:cNvSpPr>
                <a:spLocks/>
              </p:cNvSpPr>
              <p:nvPr/>
            </p:nvSpPr>
            <p:spPr bwMode="auto">
              <a:xfrm>
                <a:off x="3493709" y="5236225"/>
                <a:ext cx="932713" cy="943410"/>
              </a:xfrm>
              <a:custGeom>
                <a:avLst/>
                <a:gdLst>
                  <a:gd name="T0" fmla="*/ 83 w 184"/>
                  <a:gd name="T1" fmla="*/ 0 h 186"/>
                  <a:gd name="T2" fmla="*/ 0 w 184"/>
                  <a:gd name="T3" fmla="*/ 43 h 186"/>
                  <a:gd name="T4" fmla="*/ 16 w 184"/>
                  <a:gd name="T5" fmla="*/ 186 h 186"/>
                  <a:gd name="T6" fmla="*/ 81 w 184"/>
                  <a:gd name="T7" fmla="*/ 170 h 186"/>
                  <a:gd name="T8" fmla="*/ 79 w 184"/>
                  <a:gd name="T9" fmla="*/ 159 h 186"/>
                  <a:gd name="T10" fmla="*/ 106 w 184"/>
                  <a:gd name="T11" fmla="*/ 131 h 186"/>
                  <a:gd name="T12" fmla="*/ 130 w 184"/>
                  <a:gd name="T13" fmla="*/ 146 h 186"/>
                  <a:gd name="T14" fmla="*/ 184 w 184"/>
                  <a:gd name="T15" fmla="*/ 105 h 186"/>
                  <a:gd name="T16" fmla="*/ 150 w 184"/>
                  <a:gd name="T17" fmla="*/ 70 h 186"/>
                  <a:gd name="T18" fmla="*/ 83 w 184"/>
                  <a:gd name="T19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4" h="186">
                    <a:moveTo>
                      <a:pt x="83" y="0"/>
                    </a:moveTo>
                    <a:cubicBezTo>
                      <a:pt x="61" y="23"/>
                      <a:pt x="32" y="38"/>
                      <a:pt x="0" y="43"/>
                    </a:cubicBezTo>
                    <a:cubicBezTo>
                      <a:pt x="16" y="186"/>
                      <a:pt x="16" y="186"/>
                      <a:pt x="16" y="186"/>
                    </a:cubicBezTo>
                    <a:cubicBezTo>
                      <a:pt x="39" y="183"/>
                      <a:pt x="60" y="177"/>
                      <a:pt x="81" y="170"/>
                    </a:cubicBezTo>
                    <a:cubicBezTo>
                      <a:pt x="79" y="166"/>
                      <a:pt x="79" y="163"/>
                      <a:pt x="79" y="159"/>
                    </a:cubicBezTo>
                    <a:cubicBezTo>
                      <a:pt x="79" y="144"/>
                      <a:pt x="91" y="131"/>
                      <a:pt x="106" y="131"/>
                    </a:cubicBezTo>
                    <a:cubicBezTo>
                      <a:pt x="117" y="131"/>
                      <a:pt x="126" y="137"/>
                      <a:pt x="130" y="146"/>
                    </a:cubicBezTo>
                    <a:cubicBezTo>
                      <a:pt x="150" y="134"/>
                      <a:pt x="167" y="121"/>
                      <a:pt x="184" y="105"/>
                    </a:cubicBezTo>
                    <a:cubicBezTo>
                      <a:pt x="150" y="70"/>
                      <a:pt x="150" y="70"/>
                      <a:pt x="150" y="70"/>
                    </a:cubicBez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FF8427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" name="Freeform 280"/>
              <p:cNvSpPr>
                <a:spLocks/>
              </p:cNvSpPr>
              <p:nvPr/>
            </p:nvSpPr>
            <p:spPr bwMode="auto">
              <a:xfrm>
                <a:off x="2528907" y="5353884"/>
                <a:ext cx="1076043" cy="1073904"/>
              </a:xfrm>
              <a:custGeom>
                <a:avLst/>
                <a:gdLst>
                  <a:gd name="T0" fmla="*/ 190 w 212"/>
                  <a:gd name="T1" fmla="*/ 20 h 212"/>
                  <a:gd name="T2" fmla="*/ 171 w 212"/>
                  <a:gd name="T3" fmla="*/ 21 h 212"/>
                  <a:gd name="T4" fmla="*/ 97 w 212"/>
                  <a:gd name="T5" fmla="*/ 0 h 212"/>
                  <a:gd name="T6" fmla="*/ 0 w 212"/>
                  <a:gd name="T7" fmla="*/ 164 h 212"/>
                  <a:gd name="T8" fmla="*/ 67 w 212"/>
                  <a:gd name="T9" fmla="*/ 194 h 212"/>
                  <a:gd name="T10" fmla="*/ 94 w 212"/>
                  <a:gd name="T11" fmla="*/ 169 h 212"/>
                  <a:gd name="T12" fmla="*/ 122 w 212"/>
                  <a:gd name="T13" fmla="*/ 197 h 212"/>
                  <a:gd name="T14" fmla="*/ 119 w 212"/>
                  <a:gd name="T15" fmla="*/ 207 h 212"/>
                  <a:gd name="T16" fmla="*/ 173 w 212"/>
                  <a:gd name="T17" fmla="*/ 212 h 212"/>
                  <a:gd name="T18" fmla="*/ 212 w 212"/>
                  <a:gd name="T19" fmla="*/ 209 h 212"/>
                  <a:gd name="T20" fmla="*/ 206 w 212"/>
                  <a:gd name="T21" fmla="*/ 163 h 212"/>
                  <a:gd name="T22" fmla="*/ 190 w 212"/>
                  <a:gd name="T23" fmla="*/ 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2" h="212">
                    <a:moveTo>
                      <a:pt x="190" y="20"/>
                    </a:moveTo>
                    <a:cubicBezTo>
                      <a:pt x="184" y="20"/>
                      <a:pt x="177" y="21"/>
                      <a:pt x="171" y="21"/>
                    </a:cubicBezTo>
                    <a:cubicBezTo>
                      <a:pt x="144" y="21"/>
                      <a:pt x="118" y="13"/>
                      <a:pt x="97" y="0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21" y="176"/>
                      <a:pt x="43" y="187"/>
                      <a:pt x="67" y="194"/>
                    </a:cubicBezTo>
                    <a:cubicBezTo>
                      <a:pt x="68" y="180"/>
                      <a:pt x="80" y="169"/>
                      <a:pt x="94" y="169"/>
                    </a:cubicBezTo>
                    <a:cubicBezTo>
                      <a:pt x="109" y="169"/>
                      <a:pt x="122" y="182"/>
                      <a:pt x="122" y="197"/>
                    </a:cubicBezTo>
                    <a:cubicBezTo>
                      <a:pt x="122" y="200"/>
                      <a:pt x="121" y="204"/>
                      <a:pt x="119" y="207"/>
                    </a:cubicBezTo>
                    <a:cubicBezTo>
                      <a:pt x="137" y="210"/>
                      <a:pt x="155" y="212"/>
                      <a:pt x="173" y="212"/>
                    </a:cubicBezTo>
                    <a:cubicBezTo>
                      <a:pt x="186" y="212"/>
                      <a:pt x="199" y="211"/>
                      <a:pt x="212" y="209"/>
                    </a:cubicBezTo>
                    <a:cubicBezTo>
                      <a:pt x="206" y="163"/>
                      <a:pt x="206" y="163"/>
                      <a:pt x="206" y="163"/>
                    </a:cubicBezTo>
                    <a:lnTo>
                      <a:pt x="190" y="20"/>
                    </a:lnTo>
                    <a:close/>
                  </a:path>
                </a:pathLst>
              </a:custGeom>
              <a:solidFill>
                <a:srgbClr val="656D78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" name="Freeform 281"/>
              <p:cNvSpPr>
                <a:spLocks/>
              </p:cNvSpPr>
              <p:nvPr/>
            </p:nvSpPr>
            <p:spPr bwMode="auto">
              <a:xfrm>
                <a:off x="1677485" y="4977376"/>
                <a:ext cx="1343449" cy="1328475"/>
              </a:xfrm>
              <a:custGeom>
                <a:avLst/>
                <a:gdLst>
                  <a:gd name="T0" fmla="*/ 265 w 265"/>
                  <a:gd name="T1" fmla="*/ 74 h 262"/>
                  <a:gd name="T2" fmla="*/ 206 w 265"/>
                  <a:gd name="T3" fmla="*/ 0 h 262"/>
                  <a:gd name="T4" fmla="*/ 0 w 265"/>
                  <a:gd name="T5" fmla="*/ 83 h 262"/>
                  <a:gd name="T6" fmla="*/ 28 w 265"/>
                  <a:gd name="T7" fmla="*/ 138 h 262"/>
                  <a:gd name="T8" fmla="*/ 46 w 265"/>
                  <a:gd name="T9" fmla="*/ 132 h 262"/>
                  <a:gd name="T10" fmla="*/ 73 w 265"/>
                  <a:gd name="T11" fmla="*/ 159 h 262"/>
                  <a:gd name="T12" fmla="*/ 60 w 265"/>
                  <a:gd name="T13" fmla="*/ 183 h 262"/>
                  <a:gd name="T14" fmla="*/ 154 w 265"/>
                  <a:gd name="T15" fmla="*/ 262 h 262"/>
                  <a:gd name="T16" fmla="*/ 168 w 265"/>
                  <a:gd name="T17" fmla="*/ 238 h 262"/>
                  <a:gd name="T18" fmla="*/ 265 w 265"/>
                  <a:gd name="T19" fmla="*/ 74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5" h="262">
                    <a:moveTo>
                      <a:pt x="265" y="74"/>
                    </a:moveTo>
                    <a:cubicBezTo>
                      <a:pt x="238" y="57"/>
                      <a:pt x="217" y="31"/>
                      <a:pt x="206" y="0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8" y="103"/>
                      <a:pt x="17" y="121"/>
                      <a:pt x="28" y="138"/>
                    </a:cubicBezTo>
                    <a:cubicBezTo>
                      <a:pt x="33" y="134"/>
                      <a:pt x="39" y="132"/>
                      <a:pt x="46" y="132"/>
                    </a:cubicBezTo>
                    <a:cubicBezTo>
                      <a:pt x="61" y="132"/>
                      <a:pt x="73" y="144"/>
                      <a:pt x="73" y="159"/>
                    </a:cubicBezTo>
                    <a:cubicBezTo>
                      <a:pt x="73" y="169"/>
                      <a:pt x="68" y="178"/>
                      <a:pt x="60" y="183"/>
                    </a:cubicBezTo>
                    <a:cubicBezTo>
                      <a:pt x="87" y="214"/>
                      <a:pt x="118" y="241"/>
                      <a:pt x="154" y="262"/>
                    </a:cubicBezTo>
                    <a:cubicBezTo>
                      <a:pt x="168" y="238"/>
                      <a:pt x="168" y="238"/>
                      <a:pt x="168" y="238"/>
                    </a:cubicBezTo>
                    <a:lnTo>
                      <a:pt x="265" y="74"/>
                    </a:lnTo>
                    <a:close/>
                  </a:path>
                </a:pathLst>
              </a:custGeom>
              <a:solidFill>
                <a:srgbClr val="B64926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" name="Freeform 282"/>
              <p:cNvSpPr>
                <a:spLocks/>
              </p:cNvSpPr>
              <p:nvPr/>
            </p:nvSpPr>
            <p:spPr bwMode="auto">
              <a:xfrm>
                <a:off x="1403661" y="4177296"/>
                <a:ext cx="1317778" cy="1277133"/>
              </a:xfrm>
              <a:custGeom>
                <a:avLst/>
                <a:gdLst>
                  <a:gd name="T0" fmla="*/ 260 w 260"/>
                  <a:gd name="T1" fmla="*/ 158 h 252"/>
                  <a:gd name="T2" fmla="*/ 252 w 260"/>
                  <a:gd name="T3" fmla="*/ 112 h 252"/>
                  <a:gd name="T4" fmla="*/ 260 w 260"/>
                  <a:gd name="T5" fmla="*/ 67 h 252"/>
                  <a:gd name="T6" fmla="*/ 13 w 260"/>
                  <a:gd name="T7" fmla="*/ 0 h 252"/>
                  <a:gd name="T8" fmla="*/ 0 w 260"/>
                  <a:gd name="T9" fmla="*/ 75 h 252"/>
                  <a:gd name="T10" fmla="*/ 3 w 260"/>
                  <a:gd name="T11" fmla="*/ 75 h 252"/>
                  <a:gd name="T12" fmla="*/ 30 w 260"/>
                  <a:gd name="T13" fmla="*/ 103 h 252"/>
                  <a:gd name="T14" fmla="*/ 3 w 260"/>
                  <a:gd name="T15" fmla="*/ 130 h 252"/>
                  <a:gd name="T16" fmla="*/ 0 w 260"/>
                  <a:gd name="T17" fmla="*/ 130 h 252"/>
                  <a:gd name="T18" fmla="*/ 28 w 260"/>
                  <a:gd name="T19" fmla="*/ 252 h 252"/>
                  <a:gd name="T20" fmla="*/ 54 w 260"/>
                  <a:gd name="T21" fmla="*/ 241 h 252"/>
                  <a:gd name="T22" fmla="*/ 260 w 260"/>
                  <a:gd name="T23" fmla="*/ 158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0" h="252">
                    <a:moveTo>
                      <a:pt x="260" y="158"/>
                    </a:moveTo>
                    <a:cubicBezTo>
                      <a:pt x="255" y="144"/>
                      <a:pt x="252" y="128"/>
                      <a:pt x="252" y="112"/>
                    </a:cubicBezTo>
                    <a:cubicBezTo>
                      <a:pt x="252" y="96"/>
                      <a:pt x="255" y="81"/>
                      <a:pt x="260" y="6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24"/>
                      <a:pt x="2" y="49"/>
                      <a:pt x="0" y="75"/>
                    </a:cubicBezTo>
                    <a:cubicBezTo>
                      <a:pt x="1" y="75"/>
                      <a:pt x="2" y="75"/>
                      <a:pt x="3" y="75"/>
                    </a:cubicBezTo>
                    <a:cubicBezTo>
                      <a:pt x="18" y="75"/>
                      <a:pt x="30" y="88"/>
                      <a:pt x="30" y="103"/>
                    </a:cubicBezTo>
                    <a:cubicBezTo>
                      <a:pt x="30" y="118"/>
                      <a:pt x="18" y="130"/>
                      <a:pt x="3" y="130"/>
                    </a:cubicBezTo>
                    <a:cubicBezTo>
                      <a:pt x="2" y="130"/>
                      <a:pt x="1" y="130"/>
                      <a:pt x="0" y="130"/>
                    </a:cubicBezTo>
                    <a:cubicBezTo>
                      <a:pt x="3" y="173"/>
                      <a:pt x="13" y="214"/>
                      <a:pt x="28" y="252"/>
                    </a:cubicBezTo>
                    <a:cubicBezTo>
                      <a:pt x="54" y="241"/>
                      <a:pt x="54" y="241"/>
                      <a:pt x="54" y="241"/>
                    </a:cubicBezTo>
                    <a:lnTo>
                      <a:pt x="260" y="158"/>
                    </a:lnTo>
                    <a:close/>
                  </a:path>
                </a:pathLst>
              </a:custGeom>
              <a:solidFill>
                <a:srgbClr val="FFBD47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4" name="Oval 283"/>
              <p:cNvSpPr>
                <a:spLocks noChangeArrowheads="1"/>
              </p:cNvSpPr>
              <p:nvPr/>
            </p:nvSpPr>
            <p:spPr bwMode="auto">
              <a:xfrm>
                <a:off x="2950339" y="6290876"/>
                <a:ext cx="111241" cy="117659"/>
              </a:xfrm>
              <a:prstGeom prst="ellipse">
                <a:avLst/>
              </a:prstGeom>
              <a:solidFill>
                <a:srgbClr val="2F90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5" name="Oval 284"/>
              <p:cNvSpPr>
                <a:spLocks noChangeArrowheads="1"/>
              </p:cNvSpPr>
              <p:nvPr/>
            </p:nvSpPr>
            <p:spPr bwMode="auto">
              <a:xfrm>
                <a:off x="3975040" y="5987102"/>
                <a:ext cx="117659" cy="117659"/>
              </a:xfrm>
              <a:prstGeom prst="ellipse">
                <a:avLst/>
              </a:prstGeom>
              <a:solidFill>
                <a:srgbClr val="58B2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6" name="Oval 285"/>
              <p:cNvSpPr>
                <a:spLocks noChangeArrowheads="1"/>
              </p:cNvSpPr>
              <p:nvPr/>
            </p:nvSpPr>
            <p:spPr bwMode="auto">
              <a:xfrm>
                <a:off x="4524066" y="5275949"/>
                <a:ext cx="115520" cy="115520"/>
              </a:xfrm>
              <a:prstGeom prst="ellipse">
                <a:avLst/>
              </a:prstGeom>
              <a:solidFill>
                <a:srgbClr val="77BF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7" name="Oval 286"/>
              <p:cNvSpPr>
                <a:spLocks noChangeArrowheads="1"/>
              </p:cNvSpPr>
              <p:nvPr/>
            </p:nvSpPr>
            <p:spPr bwMode="auto">
              <a:xfrm>
                <a:off x="1604751" y="3415723"/>
                <a:ext cx="117659" cy="111241"/>
              </a:xfrm>
              <a:prstGeom prst="ellipse">
                <a:avLst/>
              </a:prstGeom>
              <a:solidFill>
                <a:srgbClr val="2334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8" name="Oval 287"/>
              <p:cNvSpPr>
                <a:spLocks noChangeArrowheads="1"/>
              </p:cNvSpPr>
              <p:nvPr/>
            </p:nvSpPr>
            <p:spPr bwMode="auto">
              <a:xfrm>
                <a:off x="1356598" y="4637235"/>
                <a:ext cx="117659" cy="117659"/>
              </a:xfrm>
              <a:prstGeom prst="ellipse">
                <a:avLst/>
              </a:prstGeom>
              <a:solidFill>
                <a:srgbClr val="1842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9" name="Oval 288"/>
              <p:cNvSpPr>
                <a:spLocks noChangeArrowheads="1"/>
              </p:cNvSpPr>
              <p:nvPr/>
            </p:nvSpPr>
            <p:spPr bwMode="auto">
              <a:xfrm>
                <a:off x="4585443" y="4633885"/>
                <a:ext cx="115520" cy="115520"/>
              </a:xfrm>
              <a:prstGeom prst="ellipse">
                <a:avLst/>
              </a:prstGeom>
              <a:solidFill>
                <a:srgbClr val="8BC7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0" name="Oval 289"/>
              <p:cNvSpPr>
                <a:spLocks noChangeArrowheads="1"/>
              </p:cNvSpPr>
              <p:nvPr/>
            </p:nvSpPr>
            <p:spPr bwMode="auto">
              <a:xfrm>
                <a:off x="4253143" y="4110979"/>
                <a:ext cx="117659" cy="115520"/>
              </a:xfrm>
              <a:prstGeom prst="ellipse">
                <a:avLst/>
              </a:prstGeom>
              <a:solidFill>
                <a:srgbClr val="8BC7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1" name="Oval 290"/>
              <p:cNvSpPr>
                <a:spLocks noChangeArrowheads="1"/>
              </p:cNvSpPr>
              <p:nvPr/>
            </p:nvSpPr>
            <p:spPr bwMode="auto">
              <a:xfrm>
                <a:off x="3857382" y="3781535"/>
                <a:ext cx="117659" cy="115520"/>
              </a:xfrm>
              <a:prstGeom prst="ellipse">
                <a:avLst/>
              </a:prstGeom>
              <a:solidFill>
                <a:srgbClr val="A5C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2" name="Oval 291"/>
              <p:cNvSpPr>
                <a:spLocks noChangeArrowheads="1"/>
              </p:cNvSpPr>
              <p:nvPr/>
            </p:nvSpPr>
            <p:spPr bwMode="auto">
              <a:xfrm>
                <a:off x="1848625" y="5728253"/>
                <a:ext cx="117659" cy="117659"/>
              </a:xfrm>
              <a:prstGeom prst="ellipse">
                <a:avLst/>
              </a:prstGeom>
              <a:solidFill>
                <a:srgbClr val="197C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4" name="Oval 292"/>
              <p:cNvSpPr>
                <a:spLocks noChangeArrowheads="1"/>
              </p:cNvSpPr>
              <p:nvPr/>
            </p:nvSpPr>
            <p:spPr bwMode="auto">
              <a:xfrm>
                <a:off x="2590945" y="2476592"/>
                <a:ext cx="115520" cy="117659"/>
              </a:xfrm>
              <a:prstGeom prst="ellipse">
                <a:avLst/>
              </a:prstGeom>
              <a:solidFill>
                <a:srgbClr val="2227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7" name="Freeform 211"/>
              <p:cNvSpPr>
                <a:spLocks/>
              </p:cNvSpPr>
              <p:nvPr/>
            </p:nvSpPr>
            <p:spPr bwMode="gray">
              <a:xfrm>
                <a:off x="2316104" y="2615643"/>
                <a:ext cx="745476" cy="412200"/>
              </a:xfrm>
              <a:custGeom>
                <a:avLst/>
                <a:gdLst>
                  <a:gd name="T0" fmla="*/ 0 w 792"/>
                  <a:gd name="T1" fmla="*/ 0 h 574"/>
                  <a:gd name="T2" fmla="*/ 792 w 792"/>
                  <a:gd name="T3" fmla="*/ 574 h 574"/>
                </a:gdLst>
                <a:ahLst/>
                <a:cxnLst/>
                <a:rect l="T0" t="T1" r="T2" b="T3"/>
                <a:pathLst>
                  <a:path w="792" h="574">
                    <a:moveTo>
                      <a:pt x="194" y="86"/>
                    </a:moveTo>
                    <a:cubicBezTo>
                      <a:pt x="193" y="92"/>
                      <a:pt x="193" y="98"/>
                      <a:pt x="192" y="104"/>
                    </a:cubicBezTo>
                    <a:cubicBezTo>
                      <a:pt x="194" y="109"/>
                      <a:pt x="196" y="115"/>
                      <a:pt x="198" y="120"/>
                    </a:cubicBezTo>
                    <a:cubicBezTo>
                      <a:pt x="201" y="124"/>
                      <a:pt x="205" y="128"/>
                      <a:pt x="208" y="132"/>
                    </a:cubicBezTo>
                    <a:cubicBezTo>
                      <a:pt x="213" y="135"/>
                      <a:pt x="217" y="139"/>
                      <a:pt x="222" y="142"/>
                    </a:cubicBezTo>
                    <a:cubicBezTo>
                      <a:pt x="227" y="144"/>
                      <a:pt x="231" y="146"/>
                      <a:pt x="236" y="148"/>
                    </a:cubicBezTo>
                    <a:lnTo>
                      <a:pt x="248" y="154"/>
                    </a:lnTo>
                    <a:cubicBezTo>
                      <a:pt x="251" y="157"/>
                      <a:pt x="255" y="159"/>
                      <a:pt x="258" y="162"/>
                    </a:cubicBezTo>
                    <a:lnTo>
                      <a:pt x="264" y="174"/>
                    </a:lnTo>
                    <a:cubicBezTo>
                      <a:pt x="265" y="179"/>
                      <a:pt x="267" y="183"/>
                      <a:pt x="268" y="188"/>
                    </a:cubicBezTo>
                    <a:cubicBezTo>
                      <a:pt x="269" y="191"/>
                      <a:pt x="269" y="195"/>
                      <a:pt x="270" y="198"/>
                    </a:cubicBezTo>
                    <a:lnTo>
                      <a:pt x="270" y="202"/>
                    </a:lnTo>
                    <a:cubicBezTo>
                      <a:pt x="271" y="205"/>
                      <a:pt x="271" y="207"/>
                      <a:pt x="272" y="210"/>
                    </a:cubicBezTo>
                    <a:cubicBezTo>
                      <a:pt x="275" y="211"/>
                      <a:pt x="277" y="213"/>
                      <a:pt x="280" y="214"/>
                    </a:cubicBezTo>
                    <a:cubicBezTo>
                      <a:pt x="285" y="215"/>
                      <a:pt x="289" y="215"/>
                      <a:pt x="294" y="216"/>
                    </a:cubicBezTo>
                    <a:cubicBezTo>
                      <a:pt x="299" y="217"/>
                      <a:pt x="305" y="217"/>
                      <a:pt x="310" y="218"/>
                    </a:cubicBezTo>
                    <a:cubicBezTo>
                      <a:pt x="315" y="217"/>
                      <a:pt x="319" y="217"/>
                      <a:pt x="324" y="216"/>
                    </a:cubicBezTo>
                    <a:cubicBezTo>
                      <a:pt x="329" y="215"/>
                      <a:pt x="333" y="215"/>
                      <a:pt x="338" y="214"/>
                    </a:cubicBezTo>
                    <a:lnTo>
                      <a:pt x="348" y="214"/>
                    </a:lnTo>
                    <a:cubicBezTo>
                      <a:pt x="351" y="215"/>
                      <a:pt x="353" y="215"/>
                      <a:pt x="356" y="216"/>
                    </a:cubicBezTo>
                    <a:lnTo>
                      <a:pt x="362" y="222"/>
                    </a:lnTo>
                    <a:cubicBezTo>
                      <a:pt x="364" y="223"/>
                      <a:pt x="366" y="225"/>
                      <a:pt x="368" y="226"/>
                    </a:cubicBezTo>
                    <a:cubicBezTo>
                      <a:pt x="372" y="227"/>
                      <a:pt x="376" y="227"/>
                      <a:pt x="380" y="228"/>
                    </a:cubicBezTo>
                    <a:cubicBezTo>
                      <a:pt x="385" y="227"/>
                      <a:pt x="391" y="227"/>
                      <a:pt x="396" y="226"/>
                    </a:cubicBezTo>
                    <a:cubicBezTo>
                      <a:pt x="401" y="224"/>
                      <a:pt x="407" y="222"/>
                      <a:pt x="412" y="220"/>
                    </a:cubicBezTo>
                    <a:cubicBezTo>
                      <a:pt x="416" y="217"/>
                      <a:pt x="420" y="215"/>
                      <a:pt x="424" y="212"/>
                    </a:cubicBezTo>
                    <a:cubicBezTo>
                      <a:pt x="427" y="211"/>
                      <a:pt x="429" y="209"/>
                      <a:pt x="432" y="208"/>
                    </a:cubicBezTo>
                    <a:cubicBezTo>
                      <a:pt x="435" y="207"/>
                      <a:pt x="437" y="207"/>
                      <a:pt x="440" y="206"/>
                    </a:cubicBezTo>
                    <a:cubicBezTo>
                      <a:pt x="445" y="205"/>
                      <a:pt x="449" y="203"/>
                      <a:pt x="454" y="202"/>
                    </a:cubicBezTo>
                    <a:cubicBezTo>
                      <a:pt x="461" y="201"/>
                      <a:pt x="467" y="199"/>
                      <a:pt x="474" y="198"/>
                    </a:cubicBezTo>
                    <a:cubicBezTo>
                      <a:pt x="481" y="197"/>
                      <a:pt x="487" y="195"/>
                      <a:pt x="494" y="194"/>
                    </a:cubicBezTo>
                    <a:cubicBezTo>
                      <a:pt x="501" y="193"/>
                      <a:pt x="507" y="191"/>
                      <a:pt x="514" y="190"/>
                    </a:cubicBezTo>
                    <a:cubicBezTo>
                      <a:pt x="519" y="189"/>
                      <a:pt x="525" y="187"/>
                      <a:pt x="530" y="186"/>
                    </a:cubicBezTo>
                    <a:lnTo>
                      <a:pt x="542" y="180"/>
                    </a:lnTo>
                    <a:cubicBezTo>
                      <a:pt x="544" y="177"/>
                      <a:pt x="546" y="175"/>
                      <a:pt x="548" y="172"/>
                    </a:cubicBezTo>
                    <a:cubicBezTo>
                      <a:pt x="549" y="169"/>
                      <a:pt x="551" y="167"/>
                      <a:pt x="552" y="164"/>
                    </a:cubicBezTo>
                    <a:lnTo>
                      <a:pt x="552" y="156"/>
                    </a:lnTo>
                    <a:lnTo>
                      <a:pt x="552" y="154"/>
                    </a:lnTo>
                    <a:cubicBezTo>
                      <a:pt x="557" y="151"/>
                      <a:pt x="563" y="149"/>
                      <a:pt x="568" y="146"/>
                    </a:cubicBezTo>
                    <a:cubicBezTo>
                      <a:pt x="573" y="145"/>
                      <a:pt x="579" y="143"/>
                      <a:pt x="584" y="142"/>
                    </a:cubicBezTo>
                    <a:lnTo>
                      <a:pt x="590" y="142"/>
                    </a:lnTo>
                    <a:cubicBezTo>
                      <a:pt x="592" y="141"/>
                      <a:pt x="594" y="141"/>
                      <a:pt x="596" y="140"/>
                    </a:cubicBezTo>
                    <a:cubicBezTo>
                      <a:pt x="599" y="139"/>
                      <a:pt x="601" y="139"/>
                      <a:pt x="604" y="138"/>
                    </a:cubicBezTo>
                    <a:lnTo>
                      <a:pt x="608" y="134"/>
                    </a:lnTo>
                    <a:lnTo>
                      <a:pt x="612" y="130"/>
                    </a:lnTo>
                    <a:lnTo>
                      <a:pt x="612" y="126"/>
                    </a:lnTo>
                    <a:cubicBezTo>
                      <a:pt x="611" y="125"/>
                      <a:pt x="611" y="123"/>
                      <a:pt x="610" y="122"/>
                    </a:cubicBezTo>
                    <a:lnTo>
                      <a:pt x="606" y="118"/>
                    </a:lnTo>
                    <a:cubicBezTo>
                      <a:pt x="604" y="117"/>
                      <a:pt x="602" y="117"/>
                      <a:pt x="600" y="116"/>
                    </a:cubicBezTo>
                    <a:cubicBezTo>
                      <a:pt x="599" y="115"/>
                      <a:pt x="597" y="115"/>
                      <a:pt x="596" y="114"/>
                    </a:cubicBezTo>
                    <a:lnTo>
                      <a:pt x="592" y="114"/>
                    </a:lnTo>
                    <a:lnTo>
                      <a:pt x="590" y="114"/>
                    </a:lnTo>
                    <a:lnTo>
                      <a:pt x="562" y="114"/>
                    </a:lnTo>
                    <a:cubicBezTo>
                      <a:pt x="565" y="101"/>
                      <a:pt x="567" y="89"/>
                      <a:pt x="570" y="76"/>
                    </a:cubicBezTo>
                    <a:cubicBezTo>
                      <a:pt x="576" y="71"/>
                      <a:pt x="582" y="65"/>
                      <a:pt x="588" y="60"/>
                    </a:cubicBezTo>
                    <a:lnTo>
                      <a:pt x="588" y="56"/>
                    </a:lnTo>
                    <a:lnTo>
                      <a:pt x="588" y="46"/>
                    </a:lnTo>
                    <a:cubicBezTo>
                      <a:pt x="589" y="42"/>
                      <a:pt x="589" y="38"/>
                      <a:pt x="590" y="34"/>
                    </a:cubicBezTo>
                    <a:cubicBezTo>
                      <a:pt x="591" y="29"/>
                      <a:pt x="593" y="25"/>
                      <a:pt x="594" y="20"/>
                    </a:cubicBezTo>
                    <a:cubicBezTo>
                      <a:pt x="597" y="16"/>
                      <a:pt x="599" y="12"/>
                      <a:pt x="602" y="8"/>
                    </a:cubicBezTo>
                    <a:lnTo>
                      <a:pt x="614" y="2"/>
                    </a:lnTo>
                    <a:cubicBezTo>
                      <a:pt x="621" y="1"/>
                      <a:pt x="627" y="1"/>
                      <a:pt x="634" y="0"/>
                    </a:cubicBezTo>
                    <a:cubicBezTo>
                      <a:pt x="639" y="1"/>
                      <a:pt x="643" y="1"/>
                      <a:pt x="648" y="2"/>
                    </a:cubicBezTo>
                    <a:cubicBezTo>
                      <a:pt x="651" y="4"/>
                      <a:pt x="655" y="6"/>
                      <a:pt x="658" y="8"/>
                    </a:cubicBezTo>
                    <a:lnTo>
                      <a:pt x="664" y="20"/>
                    </a:lnTo>
                    <a:lnTo>
                      <a:pt x="666" y="22"/>
                    </a:lnTo>
                    <a:lnTo>
                      <a:pt x="666" y="24"/>
                    </a:lnTo>
                    <a:cubicBezTo>
                      <a:pt x="667" y="26"/>
                      <a:pt x="667" y="28"/>
                      <a:pt x="668" y="30"/>
                    </a:cubicBezTo>
                    <a:cubicBezTo>
                      <a:pt x="669" y="32"/>
                      <a:pt x="671" y="34"/>
                      <a:pt x="672" y="36"/>
                    </a:cubicBezTo>
                    <a:cubicBezTo>
                      <a:pt x="673" y="38"/>
                      <a:pt x="673" y="40"/>
                      <a:pt x="674" y="42"/>
                    </a:cubicBezTo>
                    <a:cubicBezTo>
                      <a:pt x="675" y="45"/>
                      <a:pt x="675" y="47"/>
                      <a:pt x="676" y="50"/>
                    </a:cubicBezTo>
                    <a:lnTo>
                      <a:pt x="678" y="52"/>
                    </a:lnTo>
                    <a:lnTo>
                      <a:pt x="686" y="60"/>
                    </a:lnTo>
                    <a:cubicBezTo>
                      <a:pt x="689" y="63"/>
                      <a:pt x="691" y="67"/>
                      <a:pt x="694" y="70"/>
                    </a:cubicBezTo>
                    <a:cubicBezTo>
                      <a:pt x="696" y="73"/>
                      <a:pt x="698" y="77"/>
                      <a:pt x="700" y="80"/>
                    </a:cubicBezTo>
                    <a:cubicBezTo>
                      <a:pt x="701" y="84"/>
                      <a:pt x="701" y="88"/>
                      <a:pt x="702" y="92"/>
                    </a:cubicBezTo>
                    <a:lnTo>
                      <a:pt x="704" y="92"/>
                    </a:lnTo>
                    <a:lnTo>
                      <a:pt x="706" y="92"/>
                    </a:lnTo>
                    <a:lnTo>
                      <a:pt x="708" y="90"/>
                    </a:lnTo>
                    <a:lnTo>
                      <a:pt x="712" y="90"/>
                    </a:lnTo>
                    <a:lnTo>
                      <a:pt x="716" y="90"/>
                    </a:lnTo>
                    <a:cubicBezTo>
                      <a:pt x="718" y="91"/>
                      <a:pt x="720" y="91"/>
                      <a:pt x="722" y="92"/>
                    </a:cubicBezTo>
                    <a:cubicBezTo>
                      <a:pt x="723" y="93"/>
                      <a:pt x="725" y="93"/>
                      <a:pt x="726" y="94"/>
                    </a:cubicBezTo>
                    <a:lnTo>
                      <a:pt x="730" y="98"/>
                    </a:lnTo>
                    <a:cubicBezTo>
                      <a:pt x="731" y="100"/>
                      <a:pt x="731" y="102"/>
                      <a:pt x="732" y="104"/>
                    </a:cubicBezTo>
                    <a:lnTo>
                      <a:pt x="734" y="106"/>
                    </a:lnTo>
                    <a:lnTo>
                      <a:pt x="734" y="108"/>
                    </a:lnTo>
                    <a:cubicBezTo>
                      <a:pt x="735" y="109"/>
                      <a:pt x="735" y="111"/>
                      <a:pt x="736" y="112"/>
                    </a:cubicBezTo>
                    <a:lnTo>
                      <a:pt x="738" y="114"/>
                    </a:lnTo>
                    <a:lnTo>
                      <a:pt x="742" y="114"/>
                    </a:lnTo>
                    <a:lnTo>
                      <a:pt x="746" y="114"/>
                    </a:lnTo>
                    <a:cubicBezTo>
                      <a:pt x="748" y="113"/>
                      <a:pt x="750" y="113"/>
                      <a:pt x="752" y="112"/>
                    </a:cubicBezTo>
                    <a:cubicBezTo>
                      <a:pt x="754" y="111"/>
                      <a:pt x="756" y="109"/>
                      <a:pt x="758" y="108"/>
                    </a:cubicBezTo>
                    <a:lnTo>
                      <a:pt x="760" y="108"/>
                    </a:lnTo>
                    <a:cubicBezTo>
                      <a:pt x="761" y="107"/>
                      <a:pt x="761" y="105"/>
                      <a:pt x="762" y="104"/>
                    </a:cubicBezTo>
                    <a:cubicBezTo>
                      <a:pt x="763" y="103"/>
                      <a:pt x="763" y="101"/>
                      <a:pt x="764" y="100"/>
                    </a:cubicBezTo>
                    <a:cubicBezTo>
                      <a:pt x="765" y="98"/>
                      <a:pt x="767" y="96"/>
                      <a:pt x="768" y="94"/>
                    </a:cubicBezTo>
                    <a:cubicBezTo>
                      <a:pt x="770" y="93"/>
                      <a:pt x="772" y="91"/>
                      <a:pt x="774" y="90"/>
                    </a:cubicBezTo>
                    <a:cubicBezTo>
                      <a:pt x="775" y="88"/>
                      <a:pt x="777" y="86"/>
                      <a:pt x="778" y="84"/>
                    </a:cubicBezTo>
                    <a:cubicBezTo>
                      <a:pt x="780" y="83"/>
                      <a:pt x="782" y="81"/>
                      <a:pt x="784" y="80"/>
                    </a:cubicBezTo>
                    <a:cubicBezTo>
                      <a:pt x="786" y="79"/>
                      <a:pt x="788" y="79"/>
                      <a:pt x="790" y="78"/>
                    </a:cubicBezTo>
                    <a:lnTo>
                      <a:pt x="790" y="80"/>
                    </a:lnTo>
                    <a:lnTo>
                      <a:pt x="790" y="82"/>
                    </a:lnTo>
                    <a:lnTo>
                      <a:pt x="790" y="86"/>
                    </a:lnTo>
                    <a:lnTo>
                      <a:pt x="790" y="90"/>
                    </a:lnTo>
                    <a:cubicBezTo>
                      <a:pt x="790" y="96"/>
                      <a:pt x="792" y="108"/>
                      <a:pt x="787" y="121"/>
                    </a:cubicBezTo>
                    <a:cubicBezTo>
                      <a:pt x="783" y="127"/>
                      <a:pt x="764" y="161"/>
                      <a:pt x="759" y="166"/>
                    </a:cubicBezTo>
                    <a:cubicBezTo>
                      <a:pt x="751" y="175"/>
                      <a:pt x="747" y="170"/>
                      <a:pt x="740" y="174"/>
                    </a:cubicBezTo>
                    <a:cubicBezTo>
                      <a:pt x="733" y="179"/>
                      <a:pt x="727" y="185"/>
                      <a:pt x="720" y="190"/>
                    </a:cubicBezTo>
                    <a:cubicBezTo>
                      <a:pt x="713" y="196"/>
                      <a:pt x="705" y="202"/>
                      <a:pt x="698" y="208"/>
                    </a:cubicBezTo>
                    <a:lnTo>
                      <a:pt x="696" y="210"/>
                    </a:lnTo>
                    <a:lnTo>
                      <a:pt x="694" y="212"/>
                    </a:lnTo>
                    <a:cubicBezTo>
                      <a:pt x="693" y="213"/>
                      <a:pt x="691" y="213"/>
                      <a:pt x="690" y="214"/>
                    </a:cubicBezTo>
                    <a:cubicBezTo>
                      <a:pt x="689" y="215"/>
                      <a:pt x="687" y="215"/>
                      <a:pt x="686" y="216"/>
                    </a:cubicBezTo>
                    <a:cubicBezTo>
                      <a:pt x="684" y="217"/>
                      <a:pt x="682" y="217"/>
                      <a:pt x="680" y="218"/>
                    </a:cubicBezTo>
                    <a:lnTo>
                      <a:pt x="672" y="218"/>
                    </a:lnTo>
                    <a:lnTo>
                      <a:pt x="666" y="218"/>
                    </a:lnTo>
                    <a:cubicBezTo>
                      <a:pt x="664" y="217"/>
                      <a:pt x="662" y="217"/>
                      <a:pt x="660" y="216"/>
                    </a:cubicBezTo>
                    <a:lnTo>
                      <a:pt x="656" y="216"/>
                    </a:lnTo>
                    <a:lnTo>
                      <a:pt x="654" y="216"/>
                    </a:lnTo>
                    <a:lnTo>
                      <a:pt x="652" y="216"/>
                    </a:lnTo>
                    <a:lnTo>
                      <a:pt x="648" y="216"/>
                    </a:lnTo>
                    <a:lnTo>
                      <a:pt x="646" y="218"/>
                    </a:lnTo>
                    <a:lnTo>
                      <a:pt x="644" y="220"/>
                    </a:lnTo>
                    <a:lnTo>
                      <a:pt x="644" y="224"/>
                    </a:lnTo>
                    <a:cubicBezTo>
                      <a:pt x="645" y="225"/>
                      <a:pt x="645" y="227"/>
                      <a:pt x="646" y="228"/>
                    </a:cubicBezTo>
                    <a:lnTo>
                      <a:pt x="646" y="232"/>
                    </a:lnTo>
                    <a:lnTo>
                      <a:pt x="646" y="236"/>
                    </a:lnTo>
                    <a:lnTo>
                      <a:pt x="646" y="238"/>
                    </a:lnTo>
                    <a:lnTo>
                      <a:pt x="644" y="240"/>
                    </a:lnTo>
                    <a:lnTo>
                      <a:pt x="642" y="242"/>
                    </a:lnTo>
                    <a:lnTo>
                      <a:pt x="638" y="242"/>
                    </a:lnTo>
                    <a:lnTo>
                      <a:pt x="636" y="242"/>
                    </a:lnTo>
                    <a:cubicBezTo>
                      <a:pt x="635" y="241"/>
                      <a:pt x="633" y="241"/>
                      <a:pt x="632" y="240"/>
                    </a:cubicBezTo>
                    <a:lnTo>
                      <a:pt x="630" y="240"/>
                    </a:lnTo>
                    <a:lnTo>
                      <a:pt x="628" y="240"/>
                    </a:lnTo>
                    <a:lnTo>
                      <a:pt x="628" y="262"/>
                    </a:lnTo>
                    <a:lnTo>
                      <a:pt x="626" y="264"/>
                    </a:lnTo>
                    <a:lnTo>
                      <a:pt x="622" y="268"/>
                    </a:lnTo>
                    <a:cubicBezTo>
                      <a:pt x="621" y="269"/>
                      <a:pt x="619" y="269"/>
                      <a:pt x="618" y="270"/>
                    </a:cubicBezTo>
                    <a:cubicBezTo>
                      <a:pt x="616" y="271"/>
                      <a:pt x="614" y="273"/>
                      <a:pt x="612" y="274"/>
                    </a:cubicBezTo>
                    <a:cubicBezTo>
                      <a:pt x="611" y="275"/>
                      <a:pt x="609" y="275"/>
                      <a:pt x="608" y="276"/>
                    </a:cubicBezTo>
                    <a:lnTo>
                      <a:pt x="606" y="276"/>
                    </a:lnTo>
                    <a:lnTo>
                      <a:pt x="604" y="276"/>
                    </a:lnTo>
                    <a:lnTo>
                      <a:pt x="602" y="274"/>
                    </a:lnTo>
                    <a:lnTo>
                      <a:pt x="600" y="274"/>
                    </a:lnTo>
                    <a:lnTo>
                      <a:pt x="600" y="272"/>
                    </a:lnTo>
                    <a:lnTo>
                      <a:pt x="600" y="268"/>
                    </a:lnTo>
                    <a:cubicBezTo>
                      <a:pt x="601" y="267"/>
                      <a:pt x="601" y="265"/>
                      <a:pt x="602" y="264"/>
                    </a:cubicBezTo>
                    <a:cubicBezTo>
                      <a:pt x="603" y="263"/>
                      <a:pt x="605" y="263"/>
                      <a:pt x="606" y="262"/>
                    </a:cubicBezTo>
                    <a:cubicBezTo>
                      <a:pt x="607" y="261"/>
                      <a:pt x="607" y="259"/>
                      <a:pt x="608" y="258"/>
                    </a:cubicBezTo>
                    <a:lnTo>
                      <a:pt x="608" y="256"/>
                    </a:lnTo>
                    <a:lnTo>
                      <a:pt x="608" y="254"/>
                    </a:lnTo>
                    <a:cubicBezTo>
                      <a:pt x="607" y="253"/>
                      <a:pt x="605" y="253"/>
                      <a:pt x="604" y="252"/>
                    </a:cubicBezTo>
                    <a:lnTo>
                      <a:pt x="600" y="252"/>
                    </a:lnTo>
                    <a:cubicBezTo>
                      <a:pt x="599" y="253"/>
                      <a:pt x="597" y="253"/>
                      <a:pt x="596" y="254"/>
                    </a:cubicBezTo>
                    <a:cubicBezTo>
                      <a:pt x="595" y="255"/>
                      <a:pt x="593" y="255"/>
                      <a:pt x="592" y="256"/>
                    </a:cubicBezTo>
                    <a:cubicBezTo>
                      <a:pt x="590" y="257"/>
                      <a:pt x="588" y="259"/>
                      <a:pt x="586" y="260"/>
                    </a:cubicBezTo>
                    <a:lnTo>
                      <a:pt x="582" y="264"/>
                    </a:lnTo>
                    <a:cubicBezTo>
                      <a:pt x="579" y="265"/>
                      <a:pt x="577" y="265"/>
                      <a:pt x="574" y="266"/>
                    </a:cubicBezTo>
                    <a:lnTo>
                      <a:pt x="568" y="266"/>
                    </a:lnTo>
                    <a:lnTo>
                      <a:pt x="562" y="266"/>
                    </a:lnTo>
                    <a:lnTo>
                      <a:pt x="558" y="266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2" y="266"/>
                    </a:lnTo>
                    <a:lnTo>
                      <a:pt x="550" y="268"/>
                    </a:lnTo>
                    <a:lnTo>
                      <a:pt x="550" y="270"/>
                    </a:lnTo>
                    <a:cubicBezTo>
                      <a:pt x="551" y="271"/>
                      <a:pt x="551" y="273"/>
                      <a:pt x="552" y="274"/>
                    </a:cubicBezTo>
                    <a:cubicBezTo>
                      <a:pt x="553" y="275"/>
                      <a:pt x="553" y="277"/>
                      <a:pt x="554" y="278"/>
                    </a:cubicBezTo>
                    <a:cubicBezTo>
                      <a:pt x="556" y="279"/>
                      <a:pt x="558" y="281"/>
                      <a:pt x="560" y="282"/>
                    </a:cubicBezTo>
                    <a:cubicBezTo>
                      <a:pt x="562" y="283"/>
                      <a:pt x="564" y="285"/>
                      <a:pt x="566" y="286"/>
                    </a:cubicBezTo>
                    <a:lnTo>
                      <a:pt x="570" y="290"/>
                    </a:lnTo>
                    <a:lnTo>
                      <a:pt x="574" y="294"/>
                    </a:lnTo>
                    <a:cubicBezTo>
                      <a:pt x="575" y="295"/>
                      <a:pt x="577" y="295"/>
                      <a:pt x="578" y="296"/>
                    </a:cubicBezTo>
                    <a:lnTo>
                      <a:pt x="580" y="296"/>
                    </a:lnTo>
                    <a:cubicBezTo>
                      <a:pt x="581" y="295"/>
                      <a:pt x="583" y="295"/>
                      <a:pt x="584" y="294"/>
                    </a:cubicBezTo>
                    <a:lnTo>
                      <a:pt x="590" y="294"/>
                    </a:lnTo>
                    <a:cubicBezTo>
                      <a:pt x="591" y="293"/>
                      <a:pt x="593" y="293"/>
                      <a:pt x="594" y="292"/>
                    </a:cubicBezTo>
                    <a:lnTo>
                      <a:pt x="600" y="292"/>
                    </a:lnTo>
                    <a:cubicBezTo>
                      <a:pt x="601" y="291"/>
                      <a:pt x="603" y="291"/>
                      <a:pt x="604" y="290"/>
                    </a:cubicBezTo>
                    <a:lnTo>
                      <a:pt x="610" y="290"/>
                    </a:lnTo>
                    <a:cubicBezTo>
                      <a:pt x="612" y="291"/>
                      <a:pt x="614" y="291"/>
                      <a:pt x="616" y="292"/>
                    </a:cubicBezTo>
                    <a:cubicBezTo>
                      <a:pt x="617" y="293"/>
                      <a:pt x="619" y="293"/>
                      <a:pt x="620" y="294"/>
                    </a:cubicBezTo>
                    <a:lnTo>
                      <a:pt x="622" y="296"/>
                    </a:lnTo>
                    <a:lnTo>
                      <a:pt x="624" y="298"/>
                    </a:lnTo>
                    <a:lnTo>
                      <a:pt x="624" y="300"/>
                    </a:lnTo>
                    <a:cubicBezTo>
                      <a:pt x="623" y="301"/>
                      <a:pt x="621" y="301"/>
                      <a:pt x="620" y="302"/>
                    </a:cubicBezTo>
                    <a:cubicBezTo>
                      <a:pt x="619" y="303"/>
                      <a:pt x="617" y="303"/>
                      <a:pt x="616" y="304"/>
                    </a:cubicBezTo>
                    <a:cubicBezTo>
                      <a:pt x="614" y="305"/>
                      <a:pt x="612" y="305"/>
                      <a:pt x="610" y="306"/>
                    </a:cubicBezTo>
                    <a:cubicBezTo>
                      <a:pt x="608" y="307"/>
                      <a:pt x="606" y="307"/>
                      <a:pt x="604" y="308"/>
                    </a:cubicBezTo>
                    <a:lnTo>
                      <a:pt x="600" y="312"/>
                    </a:lnTo>
                    <a:cubicBezTo>
                      <a:pt x="599" y="313"/>
                      <a:pt x="597" y="313"/>
                      <a:pt x="596" y="314"/>
                    </a:cubicBezTo>
                    <a:cubicBezTo>
                      <a:pt x="595" y="315"/>
                      <a:pt x="593" y="315"/>
                      <a:pt x="592" y="316"/>
                    </a:cubicBezTo>
                    <a:lnTo>
                      <a:pt x="590" y="316"/>
                    </a:lnTo>
                    <a:lnTo>
                      <a:pt x="588" y="318"/>
                    </a:lnTo>
                    <a:cubicBezTo>
                      <a:pt x="587" y="319"/>
                      <a:pt x="585" y="319"/>
                      <a:pt x="584" y="320"/>
                    </a:cubicBezTo>
                    <a:cubicBezTo>
                      <a:pt x="583" y="321"/>
                      <a:pt x="583" y="323"/>
                      <a:pt x="582" y="324"/>
                    </a:cubicBezTo>
                    <a:lnTo>
                      <a:pt x="580" y="326"/>
                    </a:lnTo>
                    <a:lnTo>
                      <a:pt x="580" y="332"/>
                    </a:lnTo>
                    <a:cubicBezTo>
                      <a:pt x="581" y="333"/>
                      <a:pt x="581" y="335"/>
                      <a:pt x="582" y="336"/>
                    </a:cubicBezTo>
                    <a:cubicBezTo>
                      <a:pt x="583" y="338"/>
                      <a:pt x="585" y="340"/>
                      <a:pt x="586" y="342"/>
                    </a:cubicBezTo>
                    <a:cubicBezTo>
                      <a:pt x="587" y="344"/>
                      <a:pt x="589" y="346"/>
                      <a:pt x="590" y="348"/>
                    </a:cubicBezTo>
                    <a:lnTo>
                      <a:pt x="594" y="352"/>
                    </a:lnTo>
                    <a:cubicBezTo>
                      <a:pt x="595" y="354"/>
                      <a:pt x="595" y="356"/>
                      <a:pt x="596" y="358"/>
                    </a:cubicBezTo>
                    <a:cubicBezTo>
                      <a:pt x="597" y="359"/>
                      <a:pt x="597" y="361"/>
                      <a:pt x="598" y="362"/>
                    </a:cubicBezTo>
                    <a:lnTo>
                      <a:pt x="600" y="364"/>
                    </a:lnTo>
                    <a:lnTo>
                      <a:pt x="600" y="366"/>
                    </a:lnTo>
                    <a:cubicBezTo>
                      <a:pt x="603" y="374"/>
                      <a:pt x="605" y="382"/>
                      <a:pt x="608" y="390"/>
                    </a:cubicBezTo>
                    <a:lnTo>
                      <a:pt x="610" y="390"/>
                    </a:lnTo>
                    <a:lnTo>
                      <a:pt x="610" y="394"/>
                    </a:lnTo>
                    <a:cubicBezTo>
                      <a:pt x="611" y="395"/>
                      <a:pt x="611" y="397"/>
                      <a:pt x="612" y="398"/>
                    </a:cubicBezTo>
                    <a:cubicBezTo>
                      <a:pt x="613" y="399"/>
                      <a:pt x="613" y="401"/>
                      <a:pt x="614" y="402"/>
                    </a:cubicBezTo>
                    <a:lnTo>
                      <a:pt x="614" y="406"/>
                    </a:lnTo>
                    <a:lnTo>
                      <a:pt x="614" y="412"/>
                    </a:lnTo>
                    <a:lnTo>
                      <a:pt x="614" y="416"/>
                    </a:lnTo>
                    <a:lnTo>
                      <a:pt x="614" y="422"/>
                    </a:lnTo>
                    <a:cubicBezTo>
                      <a:pt x="613" y="423"/>
                      <a:pt x="613" y="425"/>
                      <a:pt x="612" y="426"/>
                    </a:cubicBezTo>
                    <a:cubicBezTo>
                      <a:pt x="611" y="427"/>
                      <a:pt x="611" y="429"/>
                      <a:pt x="610" y="430"/>
                    </a:cubicBezTo>
                    <a:lnTo>
                      <a:pt x="606" y="434"/>
                    </a:lnTo>
                    <a:lnTo>
                      <a:pt x="606" y="436"/>
                    </a:lnTo>
                    <a:lnTo>
                      <a:pt x="604" y="438"/>
                    </a:lnTo>
                    <a:cubicBezTo>
                      <a:pt x="600" y="445"/>
                      <a:pt x="596" y="451"/>
                      <a:pt x="592" y="458"/>
                    </a:cubicBezTo>
                    <a:cubicBezTo>
                      <a:pt x="589" y="466"/>
                      <a:pt x="585" y="474"/>
                      <a:pt x="582" y="482"/>
                    </a:cubicBezTo>
                    <a:cubicBezTo>
                      <a:pt x="575" y="489"/>
                      <a:pt x="567" y="495"/>
                      <a:pt x="560" y="502"/>
                    </a:cubicBezTo>
                    <a:cubicBezTo>
                      <a:pt x="555" y="505"/>
                      <a:pt x="549" y="509"/>
                      <a:pt x="544" y="512"/>
                    </a:cubicBezTo>
                    <a:cubicBezTo>
                      <a:pt x="543" y="515"/>
                      <a:pt x="541" y="517"/>
                      <a:pt x="540" y="520"/>
                    </a:cubicBezTo>
                    <a:lnTo>
                      <a:pt x="536" y="520"/>
                    </a:lnTo>
                    <a:cubicBezTo>
                      <a:pt x="533" y="521"/>
                      <a:pt x="529" y="521"/>
                      <a:pt x="526" y="522"/>
                    </a:cubicBezTo>
                    <a:lnTo>
                      <a:pt x="514" y="522"/>
                    </a:lnTo>
                    <a:cubicBezTo>
                      <a:pt x="510" y="521"/>
                      <a:pt x="506" y="521"/>
                      <a:pt x="502" y="520"/>
                    </a:cubicBezTo>
                    <a:cubicBezTo>
                      <a:pt x="499" y="524"/>
                      <a:pt x="497" y="528"/>
                      <a:pt x="494" y="532"/>
                    </a:cubicBezTo>
                    <a:cubicBezTo>
                      <a:pt x="490" y="533"/>
                      <a:pt x="486" y="533"/>
                      <a:pt x="482" y="534"/>
                    </a:cubicBezTo>
                    <a:lnTo>
                      <a:pt x="480" y="534"/>
                    </a:lnTo>
                    <a:lnTo>
                      <a:pt x="478" y="534"/>
                    </a:lnTo>
                    <a:cubicBezTo>
                      <a:pt x="477" y="535"/>
                      <a:pt x="475" y="535"/>
                      <a:pt x="474" y="536"/>
                    </a:cubicBezTo>
                    <a:lnTo>
                      <a:pt x="472" y="536"/>
                    </a:lnTo>
                    <a:cubicBezTo>
                      <a:pt x="471" y="537"/>
                      <a:pt x="471" y="539"/>
                      <a:pt x="470" y="540"/>
                    </a:cubicBezTo>
                    <a:lnTo>
                      <a:pt x="468" y="542"/>
                    </a:lnTo>
                    <a:lnTo>
                      <a:pt x="468" y="546"/>
                    </a:lnTo>
                    <a:cubicBezTo>
                      <a:pt x="469" y="548"/>
                      <a:pt x="469" y="550"/>
                      <a:pt x="470" y="552"/>
                    </a:cubicBezTo>
                    <a:lnTo>
                      <a:pt x="470" y="558"/>
                    </a:lnTo>
                    <a:lnTo>
                      <a:pt x="470" y="564"/>
                    </a:lnTo>
                    <a:lnTo>
                      <a:pt x="470" y="568"/>
                    </a:lnTo>
                    <a:lnTo>
                      <a:pt x="470" y="570"/>
                    </a:lnTo>
                    <a:lnTo>
                      <a:pt x="468" y="572"/>
                    </a:lnTo>
                    <a:cubicBezTo>
                      <a:pt x="464" y="573"/>
                      <a:pt x="460" y="573"/>
                      <a:pt x="456" y="574"/>
                    </a:cubicBezTo>
                    <a:lnTo>
                      <a:pt x="454" y="574"/>
                    </a:lnTo>
                    <a:lnTo>
                      <a:pt x="452" y="572"/>
                    </a:lnTo>
                    <a:lnTo>
                      <a:pt x="450" y="570"/>
                    </a:lnTo>
                    <a:lnTo>
                      <a:pt x="450" y="566"/>
                    </a:lnTo>
                    <a:lnTo>
                      <a:pt x="450" y="564"/>
                    </a:lnTo>
                    <a:cubicBezTo>
                      <a:pt x="451" y="563"/>
                      <a:pt x="451" y="561"/>
                      <a:pt x="452" y="560"/>
                    </a:cubicBezTo>
                    <a:lnTo>
                      <a:pt x="456" y="556"/>
                    </a:lnTo>
                    <a:cubicBezTo>
                      <a:pt x="457" y="555"/>
                      <a:pt x="457" y="553"/>
                      <a:pt x="458" y="552"/>
                    </a:cubicBezTo>
                    <a:cubicBezTo>
                      <a:pt x="459" y="551"/>
                      <a:pt x="459" y="549"/>
                      <a:pt x="460" y="548"/>
                    </a:cubicBezTo>
                    <a:lnTo>
                      <a:pt x="460" y="544"/>
                    </a:lnTo>
                    <a:cubicBezTo>
                      <a:pt x="459" y="543"/>
                      <a:pt x="459" y="541"/>
                      <a:pt x="458" y="540"/>
                    </a:cubicBezTo>
                    <a:lnTo>
                      <a:pt x="456" y="538"/>
                    </a:lnTo>
                    <a:cubicBezTo>
                      <a:pt x="455" y="537"/>
                      <a:pt x="453" y="537"/>
                      <a:pt x="452" y="536"/>
                    </a:cubicBezTo>
                    <a:lnTo>
                      <a:pt x="448" y="536"/>
                    </a:lnTo>
                    <a:cubicBezTo>
                      <a:pt x="447" y="535"/>
                      <a:pt x="445" y="535"/>
                      <a:pt x="444" y="534"/>
                    </a:cubicBezTo>
                    <a:lnTo>
                      <a:pt x="442" y="532"/>
                    </a:lnTo>
                    <a:cubicBezTo>
                      <a:pt x="441" y="533"/>
                      <a:pt x="439" y="533"/>
                      <a:pt x="438" y="534"/>
                    </a:cubicBezTo>
                    <a:cubicBezTo>
                      <a:pt x="437" y="535"/>
                      <a:pt x="435" y="535"/>
                      <a:pt x="434" y="536"/>
                    </a:cubicBezTo>
                    <a:lnTo>
                      <a:pt x="434" y="538"/>
                    </a:lnTo>
                    <a:lnTo>
                      <a:pt x="432" y="538"/>
                    </a:lnTo>
                    <a:cubicBezTo>
                      <a:pt x="431" y="535"/>
                      <a:pt x="431" y="531"/>
                      <a:pt x="430" y="528"/>
                    </a:cubicBezTo>
                    <a:lnTo>
                      <a:pt x="418" y="516"/>
                    </a:lnTo>
                    <a:cubicBezTo>
                      <a:pt x="416" y="515"/>
                      <a:pt x="414" y="515"/>
                      <a:pt x="412" y="514"/>
                    </a:cubicBezTo>
                    <a:cubicBezTo>
                      <a:pt x="411" y="515"/>
                      <a:pt x="409" y="515"/>
                      <a:pt x="408" y="516"/>
                    </a:cubicBezTo>
                    <a:lnTo>
                      <a:pt x="402" y="516"/>
                    </a:lnTo>
                    <a:lnTo>
                      <a:pt x="396" y="516"/>
                    </a:lnTo>
                    <a:lnTo>
                      <a:pt x="390" y="516"/>
                    </a:lnTo>
                    <a:cubicBezTo>
                      <a:pt x="389" y="515"/>
                      <a:pt x="387" y="515"/>
                      <a:pt x="386" y="514"/>
                    </a:cubicBezTo>
                    <a:lnTo>
                      <a:pt x="382" y="514"/>
                    </a:lnTo>
                    <a:lnTo>
                      <a:pt x="378" y="514"/>
                    </a:lnTo>
                    <a:lnTo>
                      <a:pt x="372" y="514"/>
                    </a:lnTo>
                    <a:lnTo>
                      <a:pt x="370" y="516"/>
                    </a:lnTo>
                    <a:lnTo>
                      <a:pt x="368" y="516"/>
                    </a:lnTo>
                    <a:lnTo>
                      <a:pt x="364" y="516"/>
                    </a:lnTo>
                    <a:lnTo>
                      <a:pt x="362" y="518"/>
                    </a:lnTo>
                    <a:lnTo>
                      <a:pt x="362" y="520"/>
                    </a:lnTo>
                    <a:lnTo>
                      <a:pt x="362" y="522"/>
                    </a:lnTo>
                    <a:cubicBezTo>
                      <a:pt x="361" y="523"/>
                      <a:pt x="359" y="523"/>
                      <a:pt x="358" y="524"/>
                    </a:cubicBezTo>
                    <a:lnTo>
                      <a:pt x="356" y="526"/>
                    </a:lnTo>
                    <a:lnTo>
                      <a:pt x="356" y="528"/>
                    </a:lnTo>
                    <a:lnTo>
                      <a:pt x="356" y="532"/>
                    </a:lnTo>
                    <a:cubicBezTo>
                      <a:pt x="357" y="534"/>
                      <a:pt x="357" y="536"/>
                      <a:pt x="358" y="538"/>
                    </a:cubicBezTo>
                    <a:cubicBezTo>
                      <a:pt x="357" y="539"/>
                      <a:pt x="357" y="541"/>
                      <a:pt x="356" y="542"/>
                    </a:cubicBezTo>
                    <a:lnTo>
                      <a:pt x="356" y="544"/>
                    </a:lnTo>
                    <a:lnTo>
                      <a:pt x="354" y="544"/>
                    </a:lnTo>
                    <a:lnTo>
                      <a:pt x="352" y="544"/>
                    </a:lnTo>
                    <a:lnTo>
                      <a:pt x="350" y="544"/>
                    </a:lnTo>
                    <a:lnTo>
                      <a:pt x="348" y="544"/>
                    </a:lnTo>
                    <a:cubicBezTo>
                      <a:pt x="346" y="545"/>
                      <a:pt x="344" y="545"/>
                      <a:pt x="342" y="546"/>
                    </a:cubicBezTo>
                    <a:cubicBezTo>
                      <a:pt x="341" y="547"/>
                      <a:pt x="339" y="547"/>
                      <a:pt x="338" y="548"/>
                    </a:cubicBezTo>
                    <a:lnTo>
                      <a:pt x="334" y="548"/>
                    </a:lnTo>
                    <a:lnTo>
                      <a:pt x="332" y="548"/>
                    </a:lnTo>
                    <a:lnTo>
                      <a:pt x="332" y="546"/>
                    </a:lnTo>
                    <a:lnTo>
                      <a:pt x="332" y="542"/>
                    </a:lnTo>
                    <a:cubicBezTo>
                      <a:pt x="333" y="541"/>
                      <a:pt x="333" y="539"/>
                      <a:pt x="334" y="538"/>
                    </a:cubicBezTo>
                    <a:lnTo>
                      <a:pt x="334" y="536"/>
                    </a:lnTo>
                    <a:lnTo>
                      <a:pt x="334" y="534"/>
                    </a:lnTo>
                    <a:cubicBezTo>
                      <a:pt x="331" y="532"/>
                      <a:pt x="329" y="530"/>
                      <a:pt x="326" y="528"/>
                    </a:cubicBezTo>
                    <a:cubicBezTo>
                      <a:pt x="324" y="529"/>
                      <a:pt x="322" y="529"/>
                      <a:pt x="320" y="530"/>
                    </a:cubicBezTo>
                    <a:lnTo>
                      <a:pt x="316" y="530"/>
                    </a:lnTo>
                    <a:cubicBezTo>
                      <a:pt x="315" y="529"/>
                      <a:pt x="313" y="529"/>
                      <a:pt x="312" y="528"/>
                    </a:cubicBezTo>
                    <a:lnTo>
                      <a:pt x="310" y="526"/>
                    </a:lnTo>
                    <a:lnTo>
                      <a:pt x="308" y="524"/>
                    </a:lnTo>
                    <a:lnTo>
                      <a:pt x="308" y="522"/>
                    </a:lnTo>
                    <a:lnTo>
                      <a:pt x="308" y="520"/>
                    </a:lnTo>
                    <a:cubicBezTo>
                      <a:pt x="309" y="513"/>
                      <a:pt x="311" y="505"/>
                      <a:pt x="312" y="498"/>
                    </a:cubicBezTo>
                    <a:cubicBezTo>
                      <a:pt x="313" y="495"/>
                      <a:pt x="315" y="491"/>
                      <a:pt x="316" y="488"/>
                    </a:cubicBezTo>
                    <a:lnTo>
                      <a:pt x="320" y="484"/>
                    </a:lnTo>
                    <a:cubicBezTo>
                      <a:pt x="319" y="479"/>
                      <a:pt x="317" y="475"/>
                      <a:pt x="316" y="470"/>
                    </a:cubicBezTo>
                    <a:lnTo>
                      <a:pt x="310" y="458"/>
                    </a:lnTo>
                    <a:lnTo>
                      <a:pt x="304" y="452"/>
                    </a:lnTo>
                    <a:cubicBezTo>
                      <a:pt x="303" y="451"/>
                      <a:pt x="301" y="451"/>
                      <a:pt x="300" y="450"/>
                    </a:cubicBezTo>
                    <a:lnTo>
                      <a:pt x="300" y="448"/>
                    </a:lnTo>
                    <a:lnTo>
                      <a:pt x="298" y="448"/>
                    </a:lnTo>
                    <a:cubicBezTo>
                      <a:pt x="287" y="449"/>
                      <a:pt x="275" y="451"/>
                      <a:pt x="264" y="452"/>
                    </a:cubicBezTo>
                    <a:cubicBezTo>
                      <a:pt x="260" y="451"/>
                      <a:pt x="256" y="451"/>
                      <a:pt x="252" y="450"/>
                    </a:cubicBezTo>
                    <a:lnTo>
                      <a:pt x="248" y="446"/>
                    </a:lnTo>
                    <a:cubicBezTo>
                      <a:pt x="246" y="445"/>
                      <a:pt x="244" y="443"/>
                      <a:pt x="242" y="442"/>
                    </a:cubicBezTo>
                    <a:cubicBezTo>
                      <a:pt x="239" y="441"/>
                      <a:pt x="235" y="441"/>
                      <a:pt x="232" y="440"/>
                    </a:cubicBezTo>
                    <a:lnTo>
                      <a:pt x="222" y="440"/>
                    </a:lnTo>
                    <a:cubicBezTo>
                      <a:pt x="220" y="439"/>
                      <a:pt x="218" y="439"/>
                      <a:pt x="216" y="438"/>
                    </a:cubicBezTo>
                    <a:cubicBezTo>
                      <a:pt x="213" y="439"/>
                      <a:pt x="211" y="439"/>
                      <a:pt x="208" y="440"/>
                    </a:cubicBezTo>
                    <a:cubicBezTo>
                      <a:pt x="205" y="441"/>
                      <a:pt x="203" y="443"/>
                      <a:pt x="200" y="444"/>
                    </a:cubicBezTo>
                    <a:cubicBezTo>
                      <a:pt x="199" y="445"/>
                      <a:pt x="197" y="445"/>
                      <a:pt x="196" y="446"/>
                    </a:cubicBezTo>
                    <a:lnTo>
                      <a:pt x="192" y="450"/>
                    </a:lnTo>
                    <a:cubicBezTo>
                      <a:pt x="191" y="451"/>
                      <a:pt x="189" y="451"/>
                      <a:pt x="188" y="452"/>
                    </a:cubicBezTo>
                    <a:lnTo>
                      <a:pt x="186" y="454"/>
                    </a:lnTo>
                    <a:lnTo>
                      <a:pt x="186" y="452"/>
                    </a:lnTo>
                    <a:lnTo>
                      <a:pt x="184" y="450"/>
                    </a:lnTo>
                    <a:lnTo>
                      <a:pt x="184" y="448"/>
                    </a:lnTo>
                    <a:lnTo>
                      <a:pt x="182" y="450"/>
                    </a:lnTo>
                    <a:lnTo>
                      <a:pt x="180" y="450"/>
                    </a:lnTo>
                    <a:lnTo>
                      <a:pt x="178" y="450"/>
                    </a:lnTo>
                    <a:lnTo>
                      <a:pt x="178" y="452"/>
                    </a:lnTo>
                    <a:cubicBezTo>
                      <a:pt x="157" y="447"/>
                      <a:pt x="135" y="443"/>
                      <a:pt x="114" y="438"/>
                    </a:cubicBezTo>
                    <a:cubicBezTo>
                      <a:pt x="105" y="431"/>
                      <a:pt x="97" y="423"/>
                      <a:pt x="88" y="416"/>
                    </a:cubicBezTo>
                    <a:cubicBezTo>
                      <a:pt x="86" y="411"/>
                      <a:pt x="84" y="407"/>
                      <a:pt x="82" y="402"/>
                    </a:cubicBezTo>
                    <a:lnTo>
                      <a:pt x="82" y="392"/>
                    </a:lnTo>
                    <a:cubicBezTo>
                      <a:pt x="84" y="389"/>
                      <a:pt x="86" y="387"/>
                      <a:pt x="88" y="384"/>
                    </a:cubicBezTo>
                    <a:lnTo>
                      <a:pt x="92" y="380"/>
                    </a:lnTo>
                    <a:lnTo>
                      <a:pt x="94" y="380"/>
                    </a:lnTo>
                    <a:cubicBezTo>
                      <a:pt x="92" y="375"/>
                      <a:pt x="90" y="371"/>
                      <a:pt x="88" y="366"/>
                    </a:cubicBezTo>
                    <a:cubicBezTo>
                      <a:pt x="91" y="365"/>
                      <a:pt x="93" y="363"/>
                      <a:pt x="96" y="362"/>
                    </a:cubicBezTo>
                    <a:cubicBezTo>
                      <a:pt x="95" y="361"/>
                      <a:pt x="95" y="359"/>
                      <a:pt x="94" y="358"/>
                    </a:cubicBezTo>
                    <a:cubicBezTo>
                      <a:pt x="93" y="357"/>
                      <a:pt x="93" y="355"/>
                      <a:pt x="92" y="354"/>
                    </a:cubicBezTo>
                    <a:lnTo>
                      <a:pt x="92" y="350"/>
                    </a:lnTo>
                    <a:lnTo>
                      <a:pt x="90" y="348"/>
                    </a:lnTo>
                    <a:lnTo>
                      <a:pt x="90" y="346"/>
                    </a:lnTo>
                    <a:cubicBezTo>
                      <a:pt x="89" y="345"/>
                      <a:pt x="89" y="343"/>
                      <a:pt x="88" y="342"/>
                    </a:cubicBezTo>
                    <a:lnTo>
                      <a:pt x="86" y="340"/>
                    </a:lnTo>
                    <a:cubicBezTo>
                      <a:pt x="85" y="339"/>
                      <a:pt x="83" y="339"/>
                      <a:pt x="82" y="338"/>
                    </a:cubicBezTo>
                    <a:cubicBezTo>
                      <a:pt x="80" y="337"/>
                      <a:pt x="78" y="337"/>
                      <a:pt x="76" y="336"/>
                    </a:cubicBezTo>
                    <a:lnTo>
                      <a:pt x="72" y="336"/>
                    </a:lnTo>
                    <a:cubicBezTo>
                      <a:pt x="70" y="335"/>
                      <a:pt x="68" y="335"/>
                      <a:pt x="66" y="334"/>
                    </a:cubicBezTo>
                    <a:cubicBezTo>
                      <a:pt x="65" y="333"/>
                      <a:pt x="63" y="333"/>
                      <a:pt x="62" y="332"/>
                    </a:cubicBezTo>
                    <a:lnTo>
                      <a:pt x="60" y="330"/>
                    </a:lnTo>
                    <a:lnTo>
                      <a:pt x="58" y="328"/>
                    </a:lnTo>
                    <a:cubicBezTo>
                      <a:pt x="55" y="329"/>
                      <a:pt x="53" y="329"/>
                      <a:pt x="50" y="330"/>
                    </a:cubicBezTo>
                    <a:cubicBezTo>
                      <a:pt x="43" y="331"/>
                      <a:pt x="37" y="331"/>
                      <a:pt x="30" y="332"/>
                    </a:cubicBezTo>
                    <a:cubicBezTo>
                      <a:pt x="29" y="326"/>
                      <a:pt x="29" y="320"/>
                      <a:pt x="28" y="314"/>
                    </a:cubicBezTo>
                    <a:lnTo>
                      <a:pt x="26" y="312"/>
                    </a:lnTo>
                    <a:lnTo>
                      <a:pt x="24" y="310"/>
                    </a:lnTo>
                    <a:lnTo>
                      <a:pt x="22" y="308"/>
                    </a:lnTo>
                    <a:cubicBezTo>
                      <a:pt x="21" y="307"/>
                      <a:pt x="21" y="305"/>
                      <a:pt x="20" y="304"/>
                    </a:cubicBezTo>
                    <a:cubicBezTo>
                      <a:pt x="19" y="303"/>
                      <a:pt x="19" y="301"/>
                      <a:pt x="18" y="300"/>
                    </a:cubicBezTo>
                    <a:cubicBezTo>
                      <a:pt x="17" y="298"/>
                      <a:pt x="17" y="296"/>
                      <a:pt x="16" y="294"/>
                    </a:cubicBezTo>
                    <a:lnTo>
                      <a:pt x="16" y="290"/>
                    </a:lnTo>
                    <a:cubicBezTo>
                      <a:pt x="15" y="289"/>
                      <a:pt x="15" y="287"/>
                      <a:pt x="14" y="286"/>
                    </a:cubicBezTo>
                    <a:lnTo>
                      <a:pt x="12" y="284"/>
                    </a:lnTo>
                    <a:lnTo>
                      <a:pt x="10" y="282"/>
                    </a:lnTo>
                    <a:lnTo>
                      <a:pt x="6" y="282"/>
                    </a:lnTo>
                    <a:lnTo>
                      <a:pt x="4" y="280"/>
                    </a:lnTo>
                    <a:lnTo>
                      <a:pt x="2" y="280"/>
                    </a:lnTo>
                    <a:cubicBezTo>
                      <a:pt x="1" y="279"/>
                      <a:pt x="1" y="277"/>
                      <a:pt x="0" y="276"/>
                    </a:cubicBezTo>
                    <a:lnTo>
                      <a:pt x="0" y="272"/>
                    </a:lnTo>
                    <a:lnTo>
                      <a:pt x="0" y="270"/>
                    </a:lnTo>
                    <a:lnTo>
                      <a:pt x="0" y="266"/>
                    </a:lnTo>
                    <a:lnTo>
                      <a:pt x="0" y="264"/>
                    </a:lnTo>
                    <a:cubicBezTo>
                      <a:pt x="1" y="263"/>
                      <a:pt x="1" y="261"/>
                      <a:pt x="2" y="260"/>
                    </a:cubicBezTo>
                    <a:cubicBezTo>
                      <a:pt x="3" y="259"/>
                      <a:pt x="3" y="257"/>
                      <a:pt x="4" y="256"/>
                    </a:cubicBezTo>
                    <a:cubicBezTo>
                      <a:pt x="5" y="255"/>
                      <a:pt x="7" y="255"/>
                      <a:pt x="8" y="254"/>
                    </a:cubicBezTo>
                    <a:cubicBezTo>
                      <a:pt x="9" y="253"/>
                      <a:pt x="11" y="253"/>
                      <a:pt x="12" y="252"/>
                    </a:cubicBezTo>
                    <a:lnTo>
                      <a:pt x="18" y="252"/>
                    </a:lnTo>
                    <a:cubicBezTo>
                      <a:pt x="21" y="253"/>
                      <a:pt x="25" y="253"/>
                      <a:pt x="28" y="254"/>
                    </a:cubicBezTo>
                    <a:cubicBezTo>
                      <a:pt x="32" y="251"/>
                      <a:pt x="36" y="249"/>
                      <a:pt x="40" y="246"/>
                    </a:cubicBezTo>
                    <a:lnTo>
                      <a:pt x="42" y="244"/>
                    </a:lnTo>
                    <a:lnTo>
                      <a:pt x="44" y="242"/>
                    </a:lnTo>
                    <a:lnTo>
                      <a:pt x="48" y="242"/>
                    </a:lnTo>
                    <a:cubicBezTo>
                      <a:pt x="50" y="241"/>
                      <a:pt x="52" y="241"/>
                      <a:pt x="54" y="240"/>
                    </a:cubicBezTo>
                    <a:lnTo>
                      <a:pt x="56" y="240"/>
                    </a:lnTo>
                    <a:lnTo>
                      <a:pt x="60" y="240"/>
                    </a:lnTo>
                    <a:cubicBezTo>
                      <a:pt x="61" y="239"/>
                      <a:pt x="63" y="239"/>
                      <a:pt x="64" y="238"/>
                    </a:cubicBezTo>
                    <a:cubicBezTo>
                      <a:pt x="66" y="237"/>
                      <a:pt x="68" y="237"/>
                      <a:pt x="70" y="236"/>
                    </a:cubicBezTo>
                    <a:lnTo>
                      <a:pt x="74" y="232"/>
                    </a:lnTo>
                    <a:cubicBezTo>
                      <a:pt x="75" y="230"/>
                      <a:pt x="77" y="228"/>
                      <a:pt x="78" y="226"/>
                    </a:cubicBezTo>
                    <a:cubicBezTo>
                      <a:pt x="79" y="224"/>
                      <a:pt x="79" y="222"/>
                      <a:pt x="80" y="220"/>
                    </a:cubicBezTo>
                    <a:lnTo>
                      <a:pt x="82" y="218"/>
                    </a:lnTo>
                    <a:lnTo>
                      <a:pt x="82" y="216"/>
                    </a:lnTo>
                    <a:cubicBezTo>
                      <a:pt x="83" y="215"/>
                      <a:pt x="83" y="213"/>
                      <a:pt x="84" y="212"/>
                    </a:cubicBezTo>
                    <a:lnTo>
                      <a:pt x="84" y="208"/>
                    </a:lnTo>
                    <a:lnTo>
                      <a:pt x="84" y="206"/>
                    </a:lnTo>
                    <a:lnTo>
                      <a:pt x="84" y="202"/>
                    </a:lnTo>
                    <a:lnTo>
                      <a:pt x="80" y="202"/>
                    </a:lnTo>
                    <a:cubicBezTo>
                      <a:pt x="79" y="201"/>
                      <a:pt x="79" y="199"/>
                      <a:pt x="78" y="198"/>
                    </a:cubicBezTo>
                    <a:lnTo>
                      <a:pt x="76" y="196"/>
                    </a:lnTo>
                    <a:cubicBezTo>
                      <a:pt x="75" y="195"/>
                      <a:pt x="75" y="193"/>
                      <a:pt x="74" y="192"/>
                    </a:cubicBezTo>
                    <a:lnTo>
                      <a:pt x="74" y="188"/>
                    </a:lnTo>
                    <a:lnTo>
                      <a:pt x="74" y="186"/>
                    </a:lnTo>
                    <a:cubicBezTo>
                      <a:pt x="76" y="185"/>
                      <a:pt x="78" y="185"/>
                      <a:pt x="80" y="184"/>
                    </a:cubicBezTo>
                    <a:cubicBezTo>
                      <a:pt x="81" y="183"/>
                      <a:pt x="83" y="183"/>
                      <a:pt x="84" y="182"/>
                    </a:cubicBezTo>
                    <a:lnTo>
                      <a:pt x="86" y="182"/>
                    </a:lnTo>
                    <a:lnTo>
                      <a:pt x="88" y="180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0" y="174"/>
                    </a:lnTo>
                    <a:lnTo>
                      <a:pt x="90" y="172"/>
                    </a:lnTo>
                    <a:lnTo>
                      <a:pt x="94" y="172"/>
                    </a:lnTo>
                    <a:cubicBezTo>
                      <a:pt x="95" y="171"/>
                      <a:pt x="97" y="171"/>
                      <a:pt x="98" y="170"/>
                    </a:cubicBezTo>
                    <a:lnTo>
                      <a:pt x="102" y="170"/>
                    </a:lnTo>
                    <a:cubicBezTo>
                      <a:pt x="103" y="169"/>
                      <a:pt x="105" y="169"/>
                      <a:pt x="106" y="168"/>
                    </a:cubicBezTo>
                    <a:lnTo>
                      <a:pt x="110" y="164"/>
                    </a:lnTo>
                    <a:cubicBezTo>
                      <a:pt x="111" y="162"/>
                      <a:pt x="111" y="160"/>
                      <a:pt x="112" y="158"/>
                    </a:cubicBezTo>
                    <a:cubicBezTo>
                      <a:pt x="113" y="156"/>
                      <a:pt x="115" y="154"/>
                      <a:pt x="116" y="152"/>
                    </a:cubicBezTo>
                    <a:lnTo>
                      <a:pt x="116" y="146"/>
                    </a:lnTo>
                    <a:lnTo>
                      <a:pt x="116" y="142"/>
                    </a:lnTo>
                    <a:cubicBezTo>
                      <a:pt x="117" y="140"/>
                      <a:pt x="119" y="138"/>
                      <a:pt x="120" y="136"/>
                    </a:cubicBezTo>
                    <a:cubicBezTo>
                      <a:pt x="121" y="135"/>
                      <a:pt x="123" y="135"/>
                      <a:pt x="124" y="134"/>
                    </a:cubicBezTo>
                    <a:cubicBezTo>
                      <a:pt x="125" y="133"/>
                      <a:pt x="127" y="133"/>
                      <a:pt x="128" y="132"/>
                    </a:cubicBezTo>
                    <a:cubicBezTo>
                      <a:pt x="130" y="131"/>
                      <a:pt x="132" y="131"/>
                      <a:pt x="134" y="130"/>
                    </a:cubicBezTo>
                    <a:lnTo>
                      <a:pt x="140" y="130"/>
                    </a:lnTo>
                    <a:cubicBezTo>
                      <a:pt x="141" y="129"/>
                      <a:pt x="143" y="129"/>
                      <a:pt x="144" y="128"/>
                    </a:cubicBezTo>
                    <a:cubicBezTo>
                      <a:pt x="145" y="127"/>
                      <a:pt x="145" y="125"/>
                      <a:pt x="146" y="124"/>
                    </a:cubicBezTo>
                    <a:cubicBezTo>
                      <a:pt x="147" y="123"/>
                      <a:pt x="147" y="121"/>
                      <a:pt x="148" y="120"/>
                    </a:cubicBezTo>
                    <a:cubicBezTo>
                      <a:pt x="149" y="118"/>
                      <a:pt x="149" y="116"/>
                      <a:pt x="150" y="114"/>
                    </a:cubicBezTo>
                    <a:lnTo>
                      <a:pt x="154" y="110"/>
                    </a:lnTo>
                    <a:cubicBezTo>
                      <a:pt x="155" y="108"/>
                      <a:pt x="157" y="106"/>
                      <a:pt x="158" y="104"/>
                    </a:cubicBezTo>
                    <a:cubicBezTo>
                      <a:pt x="160" y="103"/>
                      <a:pt x="162" y="103"/>
                      <a:pt x="164" y="102"/>
                    </a:cubicBezTo>
                    <a:cubicBezTo>
                      <a:pt x="167" y="101"/>
                      <a:pt x="169" y="101"/>
                      <a:pt x="172" y="100"/>
                    </a:cubicBezTo>
                    <a:lnTo>
                      <a:pt x="176" y="100"/>
                    </a:lnTo>
                    <a:lnTo>
                      <a:pt x="178" y="98"/>
                    </a:lnTo>
                    <a:lnTo>
                      <a:pt x="180" y="96"/>
                    </a:lnTo>
                    <a:lnTo>
                      <a:pt x="180" y="94"/>
                    </a:lnTo>
                    <a:lnTo>
                      <a:pt x="180" y="92"/>
                    </a:lnTo>
                    <a:lnTo>
                      <a:pt x="180" y="90"/>
                    </a:lnTo>
                    <a:lnTo>
                      <a:pt x="180" y="86"/>
                    </a:lnTo>
                    <a:cubicBezTo>
                      <a:pt x="181" y="85"/>
                      <a:pt x="181" y="83"/>
                      <a:pt x="182" y="82"/>
                    </a:cubicBezTo>
                    <a:cubicBezTo>
                      <a:pt x="183" y="81"/>
                      <a:pt x="185" y="81"/>
                      <a:pt x="186" y="80"/>
                    </a:cubicBezTo>
                    <a:lnTo>
                      <a:pt x="190" y="76"/>
                    </a:lnTo>
                    <a:cubicBezTo>
                      <a:pt x="191" y="75"/>
                      <a:pt x="193" y="75"/>
                      <a:pt x="194" y="74"/>
                    </a:cubicBezTo>
                    <a:lnTo>
                      <a:pt x="216" y="74"/>
                    </a:lnTo>
                    <a:cubicBezTo>
                      <a:pt x="209" y="78"/>
                      <a:pt x="201" y="82"/>
                      <a:pt x="194" y="86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9" name="Freeform 207"/>
              <p:cNvSpPr>
                <a:spLocks/>
              </p:cNvSpPr>
              <p:nvPr/>
            </p:nvSpPr>
            <p:spPr bwMode="gray">
              <a:xfrm>
                <a:off x="1775580" y="3391095"/>
                <a:ext cx="573940" cy="494193"/>
              </a:xfrm>
              <a:custGeom>
                <a:avLst/>
                <a:gdLst>
                  <a:gd name="T0" fmla="*/ 262 w 378"/>
                  <a:gd name="T1" fmla="*/ 126 h 372"/>
                  <a:gd name="T2" fmla="*/ 264 w 378"/>
                  <a:gd name="T3" fmla="*/ 110 h 372"/>
                  <a:gd name="T4" fmla="*/ 256 w 378"/>
                  <a:gd name="T5" fmla="*/ 114 h 372"/>
                  <a:gd name="T6" fmla="*/ 254 w 378"/>
                  <a:gd name="T7" fmla="*/ 130 h 372"/>
                  <a:gd name="T8" fmla="*/ 192 w 378"/>
                  <a:gd name="T9" fmla="*/ 116 h 372"/>
                  <a:gd name="T10" fmla="*/ 168 w 378"/>
                  <a:gd name="T11" fmla="*/ 98 h 372"/>
                  <a:gd name="T12" fmla="*/ 162 w 378"/>
                  <a:gd name="T13" fmla="*/ 82 h 372"/>
                  <a:gd name="T14" fmla="*/ 160 w 378"/>
                  <a:gd name="T15" fmla="*/ 58 h 372"/>
                  <a:gd name="T16" fmla="*/ 174 w 378"/>
                  <a:gd name="T17" fmla="*/ 40 h 372"/>
                  <a:gd name="T18" fmla="*/ 170 w 378"/>
                  <a:gd name="T19" fmla="*/ 6 h 372"/>
                  <a:gd name="T20" fmla="*/ 152 w 378"/>
                  <a:gd name="T21" fmla="*/ 0 h 372"/>
                  <a:gd name="T22" fmla="*/ 140 w 378"/>
                  <a:gd name="T23" fmla="*/ 8 h 372"/>
                  <a:gd name="T24" fmla="*/ 110 w 378"/>
                  <a:gd name="T25" fmla="*/ 18 h 372"/>
                  <a:gd name="T26" fmla="*/ 112 w 378"/>
                  <a:gd name="T27" fmla="*/ 28 h 372"/>
                  <a:gd name="T28" fmla="*/ 124 w 378"/>
                  <a:gd name="T29" fmla="*/ 34 h 372"/>
                  <a:gd name="T30" fmla="*/ 108 w 378"/>
                  <a:gd name="T31" fmla="*/ 36 h 372"/>
                  <a:gd name="T32" fmla="*/ 96 w 378"/>
                  <a:gd name="T33" fmla="*/ 48 h 372"/>
                  <a:gd name="T34" fmla="*/ 88 w 378"/>
                  <a:gd name="T35" fmla="*/ 60 h 372"/>
                  <a:gd name="T36" fmla="*/ 58 w 378"/>
                  <a:gd name="T37" fmla="*/ 84 h 372"/>
                  <a:gd name="T38" fmla="*/ 48 w 378"/>
                  <a:gd name="T39" fmla="*/ 126 h 372"/>
                  <a:gd name="T40" fmla="*/ 18 w 378"/>
                  <a:gd name="T41" fmla="*/ 148 h 372"/>
                  <a:gd name="T42" fmla="*/ 12 w 378"/>
                  <a:gd name="T43" fmla="*/ 170 h 372"/>
                  <a:gd name="T44" fmla="*/ 32 w 378"/>
                  <a:gd name="T45" fmla="*/ 166 h 372"/>
                  <a:gd name="T46" fmla="*/ 32 w 378"/>
                  <a:gd name="T47" fmla="*/ 176 h 372"/>
                  <a:gd name="T48" fmla="*/ 16 w 378"/>
                  <a:gd name="T49" fmla="*/ 192 h 372"/>
                  <a:gd name="T50" fmla="*/ 38 w 378"/>
                  <a:gd name="T51" fmla="*/ 214 h 372"/>
                  <a:gd name="T52" fmla="*/ 50 w 378"/>
                  <a:gd name="T53" fmla="*/ 206 h 372"/>
                  <a:gd name="T54" fmla="*/ 58 w 378"/>
                  <a:gd name="T55" fmla="*/ 194 h 372"/>
                  <a:gd name="T56" fmla="*/ 56 w 378"/>
                  <a:gd name="T57" fmla="*/ 210 h 372"/>
                  <a:gd name="T58" fmla="*/ 76 w 378"/>
                  <a:gd name="T59" fmla="*/ 308 h 372"/>
                  <a:gd name="T60" fmla="*/ 102 w 378"/>
                  <a:gd name="T61" fmla="*/ 352 h 372"/>
                  <a:gd name="T62" fmla="*/ 114 w 378"/>
                  <a:gd name="T63" fmla="*/ 370 h 372"/>
                  <a:gd name="T64" fmla="*/ 132 w 378"/>
                  <a:gd name="T65" fmla="*/ 370 h 372"/>
                  <a:gd name="T66" fmla="*/ 134 w 378"/>
                  <a:gd name="T67" fmla="*/ 362 h 372"/>
                  <a:gd name="T68" fmla="*/ 146 w 378"/>
                  <a:gd name="T69" fmla="*/ 348 h 372"/>
                  <a:gd name="T70" fmla="*/ 160 w 378"/>
                  <a:gd name="T71" fmla="*/ 318 h 372"/>
                  <a:gd name="T72" fmla="*/ 162 w 378"/>
                  <a:gd name="T73" fmla="*/ 280 h 372"/>
                  <a:gd name="T74" fmla="*/ 182 w 378"/>
                  <a:gd name="T75" fmla="*/ 268 h 372"/>
                  <a:gd name="T76" fmla="*/ 224 w 378"/>
                  <a:gd name="T77" fmla="*/ 232 h 372"/>
                  <a:gd name="T78" fmla="*/ 248 w 378"/>
                  <a:gd name="T79" fmla="*/ 202 h 372"/>
                  <a:gd name="T80" fmla="*/ 262 w 378"/>
                  <a:gd name="T81" fmla="*/ 194 h 372"/>
                  <a:gd name="T82" fmla="*/ 266 w 378"/>
                  <a:gd name="T83" fmla="*/ 176 h 372"/>
                  <a:gd name="T84" fmla="*/ 266 w 378"/>
                  <a:gd name="T85" fmla="*/ 160 h 372"/>
                  <a:gd name="T86" fmla="*/ 282 w 378"/>
                  <a:gd name="T87" fmla="*/ 150 h 372"/>
                  <a:gd name="T88" fmla="*/ 294 w 378"/>
                  <a:gd name="T89" fmla="*/ 156 h 372"/>
                  <a:gd name="T90" fmla="*/ 304 w 378"/>
                  <a:gd name="T91" fmla="*/ 170 h 372"/>
                  <a:gd name="T92" fmla="*/ 312 w 378"/>
                  <a:gd name="T93" fmla="*/ 164 h 372"/>
                  <a:gd name="T94" fmla="*/ 318 w 378"/>
                  <a:gd name="T95" fmla="*/ 182 h 372"/>
                  <a:gd name="T96" fmla="*/ 324 w 378"/>
                  <a:gd name="T97" fmla="*/ 184 h 372"/>
                  <a:gd name="T98" fmla="*/ 322 w 378"/>
                  <a:gd name="T99" fmla="*/ 168 h 372"/>
                  <a:gd name="T100" fmla="*/ 336 w 378"/>
                  <a:gd name="T101" fmla="*/ 168 h 372"/>
                  <a:gd name="T102" fmla="*/ 346 w 378"/>
                  <a:gd name="T103" fmla="*/ 152 h 372"/>
                  <a:gd name="T104" fmla="*/ 370 w 378"/>
                  <a:gd name="T105" fmla="*/ 130 h 372"/>
                  <a:gd name="T106" fmla="*/ 378 w 378"/>
                  <a:gd name="T107" fmla="*/ 114 h 372"/>
                  <a:gd name="T108" fmla="*/ 344 w 378"/>
                  <a:gd name="T109" fmla="*/ 114 h 372"/>
                  <a:gd name="T110" fmla="*/ 322 w 378"/>
                  <a:gd name="T111" fmla="*/ 130 h 372"/>
                  <a:gd name="T112" fmla="*/ 306 w 378"/>
                  <a:gd name="T113" fmla="*/ 136 h 372"/>
                  <a:gd name="T114" fmla="*/ 282 w 378"/>
                  <a:gd name="T115" fmla="*/ 136 h 37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78"/>
                  <a:gd name="T175" fmla="*/ 0 h 372"/>
                  <a:gd name="T176" fmla="*/ 378 w 378"/>
                  <a:gd name="T177" fmla="*/ 372 h 37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78" h="372">
                    <a:moveTo>
                      <a:pt x="264" y="138"/>
                    </a:moveTo>
                    <a:lnTo>
                      <a:pt x="262" y="136"/>
                    </a:lnTo>
                    <a:lnTo>
                      <a:pt x="260" y="134"/>
                    </a:lnTo>
                    <a:lnTo>
                      <a:pt x="260" y="130"/>
                    </a:lnTo>
                    <a:lnTo>
                      <a:pt x="262" y="128"/>
                    </a:lnTo>
                    <a:lnTo>
                      <a:pt x="262" y="126"/>
                    </a:lnTo>
                    <a:lnTo>
                      <a:pt x="262" y="122"/>
                    </a:lnTo>
                    <a:lnTo>
                      <a:pt x="264" y="118"/>
                    </a:lnTo>
                    <a:lnTo>
                      <a:pt x="264" y="114"/>
                    </a:lnTo>
                    <a:lnTo>
                      <a:pt x="264" y="110"/>
                    </a:lnTo>
                    <a:lnTo>
                      <a:pt x="262" y="110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2"/>
                    </a:lnTo>
                    <a:lnTo>
                      <a:pt x="256" y="112"/>
                    </a:lnTo>
                    <a:lnTo>
                      <a:pt x="256" y="114"/>
                    </a:lnTo>
                    <a:lnTo>
                      <a:pt x="256" y="116"/>
                    </a:lnTo>
                    <a:lnTo>
                      <a:pt x="256" y="120"/>
                    </a:lnTo>
                    <a:lnTo>
                      <a:pt x="254" y="122"/>
                    </a:lnTo>
                    <a:lnTo>
                      <a:pt x="254" y="126"/>
                    </a:lnTo>
                    <a:lnTo>
                      <a:pt x="254" y="128"/>
                    </a:lnTo>
                    <a:lnTo>
                      <a:pt x="254" y="130"/>
                    </a:lnTo>
                    <a:lnTo>
                      <a:pt x="226" y="126"/>
                    </a:lnTo>
                    <a:lnTo>
                      <a:pt x="218" y="122"/>
                    </a:lnTo>
                    <a:lnTo>
                      <a:pt x="206" y="120"/>
                    </a:lnTo>
                    <a:lnTo>
                      <a:pt x="196" y="118"/>
                    </a:lnTo>
                    <a:lnTo>
                      <a:pt x="192" y="116"/>
                    </a:lnTo>
                    <a:lnTo>
                      <a:pt x="186" y="114"/>
                    </a:lnTo>
                    <a:lnTo>
                      <a:pt x="180" y="112"/>
                    </a:lnTo>
                    <a:lnTo>
                      <a:pt x="176" y="108"/>
                    </a:lnTo>
                    <a:lnTo>
                      <a:pt x="172" y="104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6" y="98"/>
                    </a:lnTo>
                    <a:lnTo>
                      <a:pt x="162" y="94"/>
                    </a:lnTo>
                    <a:lnTo>
                      <a:pt x="160" y="90"/>
                    </a:lnTo>
                    <a:lnTo>
                      <a:pt x="158" y="88"/>
                    </a:lnTo>
                    <a:lnTo>
                      <a:pt x="160" y="84"/>
                    </a:lnTo>
                    <a:lnTo>
                      <a:pt x="162" y="82"/>
                    </a:lnTo>
                    <a:lnTo>
                      <a:pt x="164" y="80"/>
                    </a:lnTo>
                    <a:lnTo>
                      <a:pt x="166" y="78"/>
                    </a:lnTo>
                    <a:lnTo>
                      <a:pt x="162" y="72"/>
                    </a:lnTo>
                    <a:lnTo>
                      <a:pt x="160" y="64"/>
                    </a:lnTo>
                    <a:lnTo>
                      <a:pt x="160" y="58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6" y="44"/>
                    </a:lnTo>
                    <a:lnTo>
                      <a:pt x="170" y="42"/>
                    </a:lnTo>
                    <a:lnTo>
                      <a:pt x="172" y="40"/>
                    </a:lnTo>
                    <a:lnTo>
                      <a:pt x="174" y="40"/>
                    </a:lnTo>
                    <a:lnTo>
                      <a:pt x="168" y="28"/>
                    </a:lnTo>
                    <a:lnTo>
                      <a:pt x="174" y="22"/>
                    </a:lnTo>
                    <a:lnTo>
                      <a:pt x="172" y="20"/>
                    </a:lnTo>
                    <a:lnTo>
                      <a:pt x="170" y="14"/>
                    </a:lnTo>
                    <a:lnTo>
                      <a:pt x="170" y="10"/>
                    </a:lnTo>
                    <a:lnTo>
                      <a:pt x="170" y="6"/>
                    </a:lnTo>
                    <a:lnTo>
                      <a:pt x="168" y="6"/>
                    </a:lnTo>
                    <a:lnTo>
                      <a:pt x="168" y="2"/>
                    </a:lnTo>
                    <a:lnTo>
                      <a:pt x="164" y="0"/>
                    </a:lnTo>
                    <a:lnTo>
                      <a:pt x="160" y="0"/>
                    </a:lnTo>
                    <a:lnTo>
                      <a:pt x="156" y="0"/>
                    </a:lnTo>
                    <a:lnTo>
                      <a:pt x="152" y="0"/>
                    </a:lnTo>
                    <a:lnTo>
                      <a:pt x="150" y="0"/>
                    </a:lnTo>
                    <a:lnTo>
                      <a:pt x="146" y="2"/>
                    </a:lnTo>
                    <a:lnTo>
                      <a:pt x="144" y="2"/>
                    </a:lnTo>
                    <a:lnTo>
                      <a:pt x="140" y="6"/>
                    </a:lnTo>
                    <a:lnTo>
                      <a:pt x="140" y="8"/>
                    </a:lnTo>
                    <a:lnTo>
                      <a:pt x="138" y="12"/>
                    </a:lnTo>
                    <a:lnTo>
                      <a:pt x="126" y="14"/>
                    </a:lnTo>
                    <a:lnTo>
                      <a:pt x="120" y="14"/>
                    </a:lnTo>
                    <a:lnTo>
                      <a:pt x="114" y="16"/>
                    </a:lnTo>
                    <a:lnTo>
                      <a:pt x="110" y="18"/>
                    </a:lnTo>
                    <a:lnTo>
                      <a:pt x="108" y="20"/>
                    </a:lnTo>
                    <a:lnTo>
                      <a:pt x="106" y="22"/>
                    </a:lnTo>
                    <a:lnTo>
                      <a:pt x="106" y="24"/>
                    </a:lnTo>
                    <a:lnTo>
                      <a:pt x="106" y="26"/>
                    </a:lnTo>
                    <a:lnTo>
                      <a:pt x="108" y="26"/>
                    </a:lnTo>
                    <a:lnTo>
                      <a:pt x="112" y="28"/>
                    </a:lnTo>
                    <a:lnTo>
                      <a:pt x="114" y="28"/>
                    </a:lnTo>
                    <a:lnTo>
                      <a:pt x="116" y="28"/>
                    </a:lnTo>
                    <a:lnTo>
                      <a:pt x="118" y="28"/>
                    </a:lnTo>
                    <a:lnTo>
                      <a:pt x="120" y="30"/>
                    </a:lnTo>
                    <a:lnTo>
                      <a:pt x="124" y="32"/>
                    </a:lnTo>
                    <a:lnTo>
                      <a:pt x="124" y="34"/>
                    </a:lnTo>
                    <a:lnTo>
                      <a:pt x="124" y="36"/>
                    </a:lnTo>
                    <a:lnTo>
                      <a:pt x="124" y="38"/>
                    </a:lnTo>
                    <a:lnTo>
                      <a:pt x="122" y="36"/>
                    </a:lnTo>
                    <a:lnTo>
                      <a:pt x="118" y="36"/>
                    </a:lnTo>
                    <a:lnTo>
                      <a:pt x="114" y="36"/>
                    </a:lnTo>
                    <a:lnTo>
                      <a:pt x="108" y="36"/>
                    </a:lnTo>
                    <a:lnTo>
                      <a:pt x="106" y="38"/>
                    </a:lnTo>
                    <a:lnTo>
                      <a:pt x="102" y="38"/>
                    </a:lnTo>
                    <a:lnTo>
                      <a:pt x="98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0"/>
                    </a:lnTo>
                    <a:lnTo>
                      <a:pt x="96" y="52"/>
                    </a:lnTo>
                    <a:lnTo>
                      <a:pt x="96" y="54"/>
                    </a:lnTo>
                    <a:lnTo>
                      <a:pt x="90" y="54"/>
                    </a:lnTo>
                    <a:lnTo>
                      <a:pt x="90" y="58"/>
                    </a:lnTo>
                    <a:lnTo>
                      <a:pt x="88" y="60"/>
                    </a:lnTo>
                    <a:lnTo>
                      <a:pt x="84" y="64"/>
                    </a:lnTo>
                    <a:lnTo>
                      <a:pt x="82" y="68"/>
                    </a:lnTo>
                    <a:lnTo>
                      <a:pt x="78" y="70"/>
                    </a:lnTo>
                    <a:lnTo>
                      <a:pt x="76" y="72"/>
                    </a:lnTo>
                    <a:lnTo>
                      <a:pt x="76" y="74"/>
                    </a:lnTo>
                    <a:lnTo>
                      <a:pt x="58" y="84"/>
                    </a:lnTo>
                    <a:lnTo>
                      <a:pt x="46" y="94"/>
                    </a:lnTo>
                    <a:lnTo>
                      <a:pt x="40" y="104"/>
                    </a:lnTo>
                    <a:lnTo>
                      <a:pt x="38" y="112"/>
                    </a:lnTo>
                    <a:lnTo>
                      <a:pt x="38" y="118"/>
                    </a:lnTo>
                    <a:lnTo>
                      <a:pt x="40" y="122"/>
                    </a:lnTo>
                    <a:lnTo>
                      <a:pt x="48" y="126"/>
                    </a:lnTo>
                    <a:lnTo>
                      <a:pt x="44" y="146"/>
                    </a:lnTo>
                    <a:lnTo>
                      <a:pt x="38" y="146"/>
                    </a:lnTo>
                    <a:lnTo>
                      <a:pt x="24" y="146"/>
                    </a:lnTo>
                    <a:lnTo>
                      <a:pt x="22" y="146"/>
                    </a:lnTo>
                    <a:lnTo>
                      <a:pt x="20" y="146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0" y="166"/>
                    </a:lnTo>
                    <a:lnTo>
                      <a:pt x="2" y="168"/>
                    </a:lnTo>
                    <a:lnTo>
                      <a:pt x="6" y="170"/>
                    </a:lnTo>
                    <a:lnTo>
                      <a:pt x="12" y="170"/>
                    </a:lnTo>
                    <a:lnTo>
                      <a:pt x="18" y="170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28" y="166"/>
                    </a:lnTo>
                    <a:lnTo>
                      <a:pt x="30" y="166"/>
                    </a:lnTo>
                    <a:lnTo>
                      <a:pt x="32" y="166"/>
                    </a:lnTo>
                    <a:lnTo>
                      <a:pt x="36" y="166"/>
                    </a:lnTo>
                    <a:lnTo>
                      <a:pt x="36" y="168"/>
                    </a:lnTo>
                    <a:lnTo>
                      <a:pt x="34" y="170"/>
                    </a:lnTo>
                    <a:lnTo>
                      <a:pt x="32" y="176"/>
                    </a:lnTo>
                    <a:lnTo>
                      <a:pt x="28" y="180"/>
                    </a:lnTo>
                    <a:lnTo>
                      <a:pt x="24" y="184"/>
                    </a:lnTo>
                    <a:lnTo>
                      <a:pt x="20" y="188"/>
                    </a:lnTo>
                    <a:lnTo>
                      <a:pt x="16" y="190"/>
                    </a:lnTo>
                    <a:lnTo>
                      <a:pt x="16" y="192"/>
                    </a:lnTo>
                    <a:lnTo>
                      <a:pt x="16" y="194"/>
                    </a:lnTo>
                    <a:lnTo>
                      <a:pt x="18" y="198"/>
                    </a:lnTo>
                    <a:lnTo>
                      <a:pt x="20" y="202"/>
                    </a:lnTo>
                    <a:lnTo>
                      <a:pt x="24" y="206"/>
                    </a:lnTo>
                    <a:lnTo>
                      <a:pt x="30" y="210"/>
                    </a:lnTo>
                    <a:lnTo>
                      <a:pt x="38" y="214"/>
                    </a:lnTo>
                    <a:lnTo>
                      <a:pt x="40" y="214"/>
                    </a:lnTo>
                    <a:lnTo>
                      <a:pt x="42" y="214"/>
                    </a:lnTo>
                    <a:lnTo>
                      <a:pt x="44" y="214"/>
                    </a:lnTo>
                    <a:lnTo>
                      <a:pt x="46" y="210"/>
                    </a:lnTo>
                    <a:lnTo>
                      <a:pt x="50" y="206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2" y="196"/>
                    </a:lnTo>
                    <a:lnTo>
                      <a:pt x="54" y="194"/>
                    </a:lnTo>
                    <a:lnTo>
                      <a:pt x="58" y="192"/>
                    </a:lnTo>
                    <a:lnTo>
                      <a:pt x="58" y="194"/>
                    </a:lnTo>
                    <a:lnTo>
                      <a:pt x="56" y="196"/>
                    </a:lnTo>
                    <a:lnTo>
                      <a:pt x="56" y="200"/>
                    </a:lnTo>
                    <a:lnTo>
                      <a:pt x="56" y="204"/>
                    </a:lnTo>
                    <a:lnTo>
                      <a:pt x="58" y="206"/>
                    </a:lnTo>
                    <a:lnTo>
                      <a:pt x="58" y="208"/>
                    </a:lnTo>
                    <a:lnTo>
                      <a:pt x="56" y="210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6" y="220"/>
                    </a:lnTo>
                    <a:lnTo>
                      <a:pt x="56" y="228"/>
                    </a:lnTo>
                    <a:lnTo>
                      <a:pt x="60" y="258"/>
                    </a:lnTo>
                    <a:lnTo>
                      <a:pt x="76" y="308"/>
                    </a:lnTo>
                    <a:lnTo>
                      <a:pt x="92" y="336"/>
                    </a:lnTo>
                    <a:lnTo>
                      <a:pt x="94" y="336"/>
                    </a:lnTo>
                    <a:lnTo>
                      <a:pt x="96" y="340"/>
                    </a:lnTo>
                    <a:lnTo>
                      <a:pt x="98" y="344"/>
                    </a:lnTo>
                    <a:lnTo>
                      <a:pt x="102" y="352"/>
                    </a:lnTo>
                    <a:lnTo>
                      <a:pt x="104" y="354"/>
                    </a:lnTo>
                    <a:lnTo>
                      <a:pt x="108" y="358"/>
                    </a:lnTo>
                    <a:lnTo>
                      <a:pt x="110" y="362"/>
                    </a:lnTo>
                    <a:lnTo>
                      <a:pt x="112" y="366"/>
                    </a:lnTo>
                    <a:lnTo>
                      <a:pt x="114" y="370"/>
                    </a:lnTo>
                    <a:lnTo>
                      <a:pt x="116" y="372"/>
                    </a:lnTo>
                    <a:lnTo>
                      <a:pt x="120" y="372"/>
                    </a:lnTo>
                    <a:lnTo>
                      <a:pt x="126" y="372"/>
                    </a:lnTo>
                    <a:lnTo>
                      <a:pt x="130" y="372"/>
                    </a:lnTo>
                    <a:lnTo>
                      <a:pt x="132" y="372"/>
                    </a:lnTo>
                    <a:lnTo>
                      <a:pt x="132" y="370"/>
                    </a:lnTo>
                    <a:lnTo>
                      <a:pt x="132" y="368"/>
                    </a:lnTo>
                    <a:lnTo>
                      <a:pt x="134" y="364"/>
                    </a:lnTo>
                    <a:lnTo>
                      <a:pt x="134" y="362"/>
                    </a:lnTo>
                    <a:lnTo>
                      <a:pt x="138" y="358"/>
                    </a:lnTo>
                    <a:lnTo>
                      <a:pt x="140" y="356"/>
                    </a:lnTo>
                    <a:lnTo>
                      <a:pt x="144" y="354"/>
                    </a:lnTo>
                    <a:lnTo>
                      <a:pt x="146" y="352"/>
                    </a:lnTo>
                    <a:lnTo>
                      <a:pt x="146" y="348"/>
                    </a:lnTo>
                    <a:lnTo>
                      <a:pt x="150" y="346"/>
                    </a:lnTo>
                    <a:lnTo>
                      <a:pt x="152" y="344"/>
                    </a:lnTo>
                    <a:lnTo>
                      <a:pt x="154" y="342"/>
                    </a:lnTo>
                    <a:lnTo>
                      <a:pt x="156" y="338"/>
                    </a:lnTo>
                    <a:lnTo>
                      <a:pt x="158" y="330"/>
                    </a:lnTo>
                    <a:lnTo>
                      <a:pt x="160" y="318"/>
                    </a:lnTo>
                    <a:lnTo>
                      <a:pt x="158" y="308"/>
                    </a:lnTo>
                    <a:lnTo>
                      <a:pt x="156" y="302"/>
                    </a:lnTo>
                    <a:lnTo>
                      <a:pt x="156" y="296"/>
                    </a:lnTo>
                    <a:lnTo>
                      <a:pt x="156" y="290"/>
                    </a:lnTo>
                    <a:lnTo>
                      <a:pt x="158" y="284"/>
                    </a:lnTo>
                    <a:lnTo>
                      <a:pt x="162" y="280"/>
                    </a:lnTo>
                    <a:lnTo>
                      <a:pt x="166" y="278"/>
                    </a:lnTo>
                    <a:lnTo>
                      <a:pt x="168" y="276"/>
                    </a:lnTo>
                    <a:lnTo>
                      <a:pt x="170" y="276"/>
                    </a:lnTo>
                    <a:lnTo>
                      <a:pt x="174" y="274"/>
                    </a:lnTo>
                    <a:lnTo>
                      <a:pt x="178" y="270"/>
                    </a:lnTo>
                    <a:lnTo>
                      <a:pt x="182" y="268"/>
                    </a:lnTo>
                    <a:lnTo>
                      <a:pt x="184" y="266"/>
                    </a:lnTo>
                    <a:lnTo>
                      <a:pt x="190" y="260"/>
                    </a:lnTo>
                    <a:lnTo>
                      <a:pt x="198" y="252"/>
                    </a:lnTo>
                    <a:lnTo>
                      <a:pt x="208" y="244"/>
                    </a:lnTo>
                    <a:lnTo>
                      <a:pt x="218" y="236"/>
                    </a:lnTo>
                    <a:lnTo>
                      <a:pt x="224" y="232"/>
                    </a:lnTo>
                    <a:lnTo>
                      <a:pt x="226" y="230"/>
                    </a:lnTo>
                    <a:lnTo>
                      <a:pt x="232" y="228"/>
                    </a:lnTo>
                    <a:lnTo>
                      <a:pt x="236" y="222"/>
                    </a:lnTo>
                    <a:lnTo>
                      <a:pt x="242" y="216"/>
                    </a:lnTo>
                    <a:lnTo>
                      <a:pt x="246" y="210"/>
                    </a:lnTo>
                    <a:lnTo>
                      <a:pt x="248" y="202"/>
                    </a:lnTo>
                    <a:lnTo>
                      <a:pt x="250" y="200"/>
                    </a:lnTo>
                    <a:lnTo>
                      <a:pt x="250" y="198"/>
                    </a:lnTo>
                    <a:lnTo>
                      <a:pt x="254" y="196"/>
                    </a:lnTo>
                    <a:lnTo>
                      <a:pt x="258" y="194"/>
                    </a:lnTo>
                    <a:lnTo>
                      <a:pt x="262" y="194"/>
                    </a:lnTo>
                    <a:lnTo>
                      <a:pt x="270" y="196"/>
                    </a:lnTo>
                    <a:lnTo>
                      <a:pt x="270" y="182"/>
                    </a:lnTo>
                    <a:lnTo>
                      <a:pt x="270" y="180"/>
                    </a:lnTo>
                    <a:lnTo>
                      <a:pt x="268" y="176"/>
                    </a:lnTo>
                    <a:lnTo>
                      <a:pt x="266" y="176"/>
                    </a:lnTo>
                    <a:lnTo>
                      <a:pt x="266" y="174"/>
                    </a:lnTo>
                    <a:lnTo>
                      <a:pt x="264" y="172"/>
                    </a:lnTo>
                    <a:lnTo>
                      <a:pt x="264" y="168"/>
                    </a:lnTo>
                    <a:lnTo>
                      <a:pt x="264" y="164"/>
                    </a:lnTo>
                    <a:lnTo>
                      <a:pt x="266" y="162"/>
                    </a:lnTo>
                    <a:lnTo>
                      <a:pt x="266" y="160"/>
                    </a:lnTo>
                    <a:lnTo>
                      <a:pt x="266" y="158"/>
                    </a:lnTo>
                    <a:lnTo>
                      <a:pt x="268" y="154"/>
                    </a:lnTo>
                    <a:lnTo>
                      <a:pt x="268" y="152"/>
                    </a:lnTo>
                    <a:lnTo>
                      <a:pt x="270" y="150"/>
                    </a:lnTo>
                    <a:lnTo>
                      <a:pt x="274" y="150"/>
                    </a:lnTo>
                    <a:lnTo>
                      <a:pt x="282" y="150"/>
                    </a:lnTo>
                    <a:lnTo>
                      <a:pt x="288" y="150"/>
                    </a:lnTo>
                    <a:lnTo>
                      <a:pt x="290" y="150"/>
                    </a:lnTo>
                    <a:lnTo>
                      <a:pt x="292" y="152"/>
                    </a:lnTo>
                    <a:lnTo>
                      <a:pt x="294" y="156"/>
                    </a:lnTo>
                    <a:lnTo>
                      <a:pt x="294" y="164"/>
                    </a:lnTo>
                    <a:lnTo>
                      <a:pt x="298" y="178"/>
                    </a:lnTo>
                    <a:lnTo>
                      <a:pt x="300" y="176"/>
                    </a:lnTo>
                    <a:lnTo>
                      <a:pt x="302" y="174"/>
                    </a:lnTo>
                    <a:lnTo>
                      <a:pt x="304" y="170"/>
                    </a:lnTo>
                    <a:lnTo>
                      <a:pt x="304" y="168"/>
                    </a:lnTo>
                    <a:lnTo>
                      <a:pt x="306" y="164"/>
                    </a:lnTo>
                    <a:lnTo>
                      <a:pt x="308" y="162"/>
                    </a:lnTo>
                    <a:lnTo>
                      <a:pt x="310" y="162"/>
                    </a:lnTo>
                    <a:lnTo>
                      <a:pt x="312" y="164"/>
                    </a:lnTo>
                    <a:lnTo>
                      <a:pt x="312" y="168"/>
                    </a:lnTo>
                    <a:lnTo>
                      <a:pt x="314" y="176"/>
                    </a:lnTo>
                    <a:lnTo>
                      <a:pt x="316" y="184"/>
                    </a:lnTo>
                    <a:lnTo>
                      <a:pt x="316" y="182"/>
                    </a:lnTo>
                    <a:lnTo>
                      <a:pt x="318" y="182"/>
                    </a:lnTo>
                    <a:lnTo>
                      <a:pt x="320" y="182"/>
                    </a:lnTo>
                    <a:lnTo>
                      <a:pt x="320" y="184"/>
                    </a:lnTo>
                    <a:lnTo>
                      <a:pt x="322" y="184"/>
                    </a:lnTo>
                    <a:lnTo>
                      <a:pt x="324" y="184"/>
                    </a:lnTo>
                    <a:lnTo>
                      <a:pt x="324" y="182"/>
                    </a:lnTo>
                    <a:lnTo>
                      <a:pt x="324" y="178"/>
                    </a:lnTo>
                    <a:lnTo>
                      <a:pt x="322" y="174"/>
                    </a:lnTo>
                    <a:lnTo>
                      <a:pt x="322" y="170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70"/>
                    </a:lnTo>
                    <a:lnTo>
                      <a:pt x="330" y="172"/>
                    </a:lnTo>
                    <a:lnTo>
                      <a:pt x="332" y="172"/>
                    </a:lnTo>
                    <a:lnTo>
                      <a:pt x="334" y="170"/>
                    </a:lnTo>
                    <a:lnTo>
                      <a:pt x="336" y="168"/>
                    </a:lnTo>
                    <a:lnTo>
                      <a:pt x="338" y="166"/>
                    </a:lnTo>
                    <a:lnTo>
                      <a:pt x="340" y="164"/>
                    </a:lnTo>
                    <a:lnTo>
                      <a:pt x="342" y="164"/>
                    </a:lnTo>
                    <a:lnTo>
                      <a:pt x="344" y="160"/>
                    </a:lnTo>
                    <a:lnTo>
                      <a:pt x="344" y="156"/>
                    </a:lnTo>
                    <a:lnTo>
                      <a:pt x="346" y="152"/>
                    </a:lnTo>
                    <a:lnTo>
                      <a:pt x="348" y="146"/>
                    </a:lnTo>
                    <a:lnTo>
                      <a:pt x="350" y="142"/>
                    </a:lnTo>
                    <a:lnTo>
                      <a:pt x="354" y="140"/>
                    </a:lnTo>
                    <a:lnTo>
                      <a:pt x="358" y="138"/>
                    </a:lnTo>
                    <a:lnTo>
                      <a:pt x="368" y="134"/>
                    </a:lnTo>
                    <a:lnTo>
                      <a:pt x="370" y="130"/>
                    </a:lnTo>
                    <a:lnTo>
                      <a:pt x="370" y="128"/>
                    </a:lnTo>
                    <a:lnTo>
                      <a:pt x="372" y="126"/>
                    </a:lnTo>
                    <a:lnTo>
                      <a:pt x="374" y="124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8" y="114"/>
                    </a:lnTo>
                    <a:lnTo>
                      <a:pt x="378" y="110"/>
                    </a:lnTo>
                    <a:lnTo>
                      <a:pt x="378" y="108"/>
                    </a:lnTo>
                    <a:lnTo>
                      <a:pt x="376" y="108"/>
                    </a:lnTo>
                    <a:lnTo>
                      <a:pt x="366" y="110"/>
                    </a:lnTo>
                    <a:lnTo>
                      <a:pt x="354" y="112"/>
                    </a:lnTo>
                    <a:lnTo>
                      <a:pt x="344" y="114"/>
                    </a:lnTo>
                    <a:lnTo>
                      <a:pt x="330" y="112"/>
                    </a:lnTo>
                    <a:lnTo>
                      <a:pt x="328" y="116"/>
                    </a:lnTo>
                    <a:lnTo>
                      <a:pt x="326" y="120"/>
                    </a:lnTo>
                    <a:lnTo>
                      <a:pt x="324" y="124"/>
                    </a:lnTo>
                    <a:lnTo>
                      <a:pt x="322" y="130"/>
                    </a:lnTo>
                    <a:lnTo>
                      <a:pt x="320" y="134"/>
                    </a:lnTo>
                    <a:lnTo>
                      <a:pt x="318" y="136"/>
                    </a:lnTo>
                    <a:lnTo>
                      <a:pt x="316" y="138"/>
                    </a:lnTo>
                    <a:lnTo>
                      <a:pt x="314" y="138"/>
                    </a:lnTo>
                    <a:lnTo>
                      <a:pt x="310" y="138"/>
                    </a:lnTo>
                    <a:lnTo>
                      <a:pt x="306" y="136"/>
                    </a:lnTo>
                    <a:lnTo>
                      <a:pt x="302" y="136"/>
                    </a:lnTo>
                    <a:lnTo>
                      <a:pt x="298" y="136"/>
                    </a:lnTo>
                    <a:lnTo>
                      <a:pt x="294" y="138"/>
                    </a:lnTo>
                    <a:lnTo>
                      <a:pt x="290" y="136"/>
                    </a:lnTo>
                    <a:lnTo>
                      <a:pt x="284" y="136"/>
                    </a:lnTo>
                    <a:lnTo>
                      <a:pt x="282" y="136"/>
                    </a:lnTo>
                    <a:lnTo>
                      <a:pt x="280" y="136"/>
                    </a:lnTo>
                    <a:lnTo>
                      <a:pt x="264" y="138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0" name="Freeform 374"/>
              <p:cNvSpPr>
                <a:spLocks/>
              </p:cNvSpPr>
              <p:nvPr/>
            </p:nvSpPr>
            <p:spPr bwMode="gray">
              <a:xfrm>
                <a:off x="2075160" y="5489379"/>
                <a:ext cx="587994" cy="289692"/>
              </a:xfrm>
              <a:custGeom>
                <a:avLst/>
                <a:gdLst>
                  <a:gd name="T0" fmla="*/ 704 w 738"/>
                  <a:gd name="T1" fmla="*/ 42 h 404"/>
                  <a:gd name="T2" fmla="*/ 724 w 738"/>
                  <a:gd name="T3" fmla="*/ 30 h 404"/>
                  <a:gd name="T4" fmla="*/ 724 w 738"/>
                  <a:gd name="T5" fmla="*/ 64 h 404"/>
                  <a:gd name="T6" fmla="*/ 738 w 738"/>
                  <a:gd name="T7" fmla="*/ 74 h 404"/>
                  <a:gd name="T8" fmla="*/ 726 w 738"/>
                  <a:gd name="T9" fmla="*/ 82 h 404"/>
                  <a:gd name="T10" fmla="*/ 702 w 738"/>
                  <a:gd name="T11" fmla="*/ 96 h 404"/>
                  <a:gd name="T12" fmla="*/ 684 w 738"/>
                  <a:gd name="T13" fmla="*/ 114 h 404"/>
                  <a:gd name="T14" fmla="*/ 688 w 738"/>
                  <a:gd name="T15" fmla="*/ 126 h 404"/>
                  <a:gd name="T16" fmla="*/ 696 w 738"/>
                  <a:gd name="T17" fmla="*/ 136 h 404"/>
                  <a:gd name="T18" fmla="*/ 668 w 738"/>
                  <a:gd name="T19" fmla="*/ 140 h 404"/>
                  <a:gd name="T20" fmla="*/ 644 w 738"/>
                  <a:gd name="T21" fmla="*/ 142 h 404"/>
                  <a:gd name="T22" fmla="*/ 646 w 738"/>
                  <a:gd name="T23" fmla="*/ 162 h 404"/>
                  <a:gd name="T24" fmla="*/ 642 w 738"/>
                  <a:gd name="T25" fmla="*/ 192 h 404"/>
                  <a:gd name="T26" fmla="*/ 630 w 738"/>
                  <a:gd name="T27" fmla="*/ 184 h 404"/>
                  <a:gd name="T28" fmla="*/ 622 w 738"/>
                  <a:gd name="T29" fmla="*/ 186 h 404"/>
                  <a:gd name="T30" fmla="*/ 626 w 738"/>
                  <a:gd name="T31" fmla="*/ 204 h 404"/>
                  <a:gd name="T32" fmla="*/ 616 w 738"/>
                  <a:gd name="T33" fmla="*/ 218 h 404"/>
                  <a:gd name="T34" fmla="*/ 624 w 738"/>
                  <a:gd name="T35" fmla="*/ 234 h 404"/>
                  <a:gd name="T36" fmla="*/ 610 w 738"/>
                  <a:gd name="T37" fmla="*/ 240 h 404"/>
                  <a:gd name="T38" fmla="*/ 556 w 738"/>
                  <a:gd name="T39" fmla="*/ 296 h 404"/>
                  <a:gd name="T40" fmla="*/ 550 w 738"/>
                  <a:gd name="T41" fmla="*/ 320 h 404"/>
                  <a:gd name="T42" fmla="*/ 572 w 738"/>
                  <a:gd name="T43" fmla="*/ 368 h 404"/>
                  <a:gd name="T44" fmla="*/ 566 w 738"/>
                  <a:gd name="T45" fmla="*/ 404 h 404"/>
                  <a:gd name="T46" fmla="*/ 528 w 738"/>
                  <a:gd name="T47" fmla="*/ 348 h 404"/>
                  <a:gd name="T48" fmla="*/ 516 w 738"/>
                  <a:gd name="T49" fmla="*/ 326 h 404"/>
                  <a:gd name="T50" fmla="*/ 446 w 738"/>
                  <a:gd name="T51" fmla="*/ 324 h 404"/>
                  <a:gd name="T52" fmla="*/ 382 w 738"/>
                  <a:gd name="T53" fmla="*/ 334 h 404"/>
                  <a:gd name="T54" fmla="*/ 344 w 738"/>
                  <a:gd name="T55" fmla="*/ 376 h 404"/>
                  <a:gd name="T56" fmla="*/ 308 w 738"/>
                  <a:gd name="T57" fmla="*/ 350 h 404"/>
                  <a:gd name="T58" fmla="*/ 288 w 738"/>
                  <a:gd name="T59" fmla="*/ 336 h 404"/>
                  <a:gd name="T60" fmla="*/ 262 w 738"/>
                  <a:gd name="T61" fmla="*/ 334 h 404"/>
                  <a:gd name="T62" fmla="*/ 228 w 738"/>
                  <a:gd name="T63" fmla="*/ 296 h 404"/>
                  <a:gd name="T64" fmla="*/ 176 w 738"/>
                  <a:gd name="T65" fmla="*/ 306 h 404"/>
                  <a:gd name="T66" fmla="*/ 112 w 738"/>
                  <a:gd name="T67" fmla="*/ 288 h 404"/>
                  <a:gd name="T68" fmla="*/ 84 w 738"/>
                  <a:gd name="T69" fmla="*/ 272 h 404"/>
                  <a:gd name="T70" fmla="*/ 52 w 738"/>
                  <a:gd name="T71" fmla="*/ 252 h 404"/>
                  <a:gd name="T72" fmla="*/ 2 w 738"/>
                  <a:gd name="T73" fmla="*/ 156 h 404"/>
                  <a:gd name="T74" fmla="*/ 6 w 738"/>
                  <a:gd name="T75" fmla="*/ 102 h 404"/>
                  <a:gd name="T76" fmla="*/ 6 w 738"/>
                  <a:gd name="T77" fmla="*/ 62 h 404"/>
                  <a:gd name="T78" fmla="*/ 14 w 738"/>
                  <a:gd name="T79" fmla="*/ 22 h 404"/>
                  <a:gd name="T80" fmla="*/ 416 w 738"/>
                  <a:gd name="T81" fmla="*/ 12 h 404"/>
                  <a:gd name="T82" fmla="*/ 432 w 738"/>
                  <a:gd name="T83" fmla="*/ 22 h 404"/>
                  <a:gd name="T84" fmla="*/ 416 w 738"/>
                  <a:gd name="T85" fmla="*/ 40 h 404"/>
                  <a:gd name="T86" fmla="*/ 454 w 738"/>
                  <a:gd name="T87" fmla="*/ 42 h 404"/>
                  <a:gd name="T88" fmla="*/ 484 w 738"/>
                  <a:gd name="T89" fmla="*/ 42 h 404"/>
                  <a:gd name="T90" fmla="*/ 502 w 738"/>
                  <a:gd name="T91" fmla="*/ 44 h 404"/>
                  <a:gd name="T92" fmla="*/ 490 w 738"/>
                  <a:gd name="T93" fmla="*/ 60 h 404"/>
                  <a:gd name="T94" fmla="*/ 472 w 738"/>
                  <a:gd name="T95" fmla="*/ 66 h 404"/>
                  <a:gd name="T96" fmla="*/ 476 w 738"/>
                  <a:gd name="T97" fmla="*/ 84 h 404"/>
                  <a:gd name="T98" fmla="*/ 472 w 738"/>
                  <a:gd name="T99" fmla="*/ 134 h 404"/>
                  <a:gd name="T100" fmla="*/ 490 w 738"/>
                  <a:gd name="T101" fmla="*/ 108 h 404"/>
                  <a:gd name="T102" fmla="*/ 504 w 738"/>
                  <a:gd name="T103" fmla="*/ 64 h 404"/>
                  <a:gd name="T104" fmla="*/ 520 w 738"/>
                  <a:gd name="T105" fmla="*/ 64 h 404"/>
                  <a:gd name="T106" fmla="*/ 518 w 738"/>
                  <a:gd name="T107" fmla="*/ 90 h 404"/>
                  <a:gd name="T108" fmla="*/ 530 w 738"/>
                  <a:gd name="T109" fmla="*/ 92 h 404"/>
                  <a:gd name="T110" fmla="*/ 536 w 738"/>
                  <a:gd name="T111" fmla="*/ 120 h 404"/>
                  <a:gd name="T112" fmla="*/ 546 w 738"/>
                  <a:gd name="T113" fmla="*/ 128 h 404"/>
                  <a:gd name="T114" fmla="*/ 586 w 738"/>
                  <a:gd name="T115" fmla="*/ 114 h 404"/>
                  <a:gd name="T116" fmla="*/ 596 w 738"/>
                  <a:gd name="T117" fmla="*/ 94 h 404"/>
                  <a:gd name="T118" fmla="*/ 634 w 738"/>
                  <a:gd name="T119" fmla="*/ 82 h 40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38"/>
                  <a:gd name="T181" fmla="*/ 0 h 404"/>
                  <a:gd name="T182" fmla="*/ 738 w 738"/>
                  <a:gd name="T183" fmla="*/ 404 h 40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38" h="404">
                    <a:moveTo>
                      <a:pt x="640" y="76"/>
                    </a:moveTo>
                    <a:lnTo>
                      <a:pt x="650" y="64"/>
                    </a:lnTo>
                    <a:lnTo>
                      <a:pt x="664" y="58"/>
                    </a:lnTo>
                    <a:lnTo>
                      <a:pt x="680" y="54"/>
                    </a:lnTo>
                    <a:lnTo>
                      <a:pt x="694" y="52"/>
                    </a:lnTo>
                    <a:lnTo>
                      <a:pt x="698" y="52"/>
                    </a:lnTo>
                    <a:lnTo>
                      <a:pt x="704" y="42"/>
                    </a:lnTo>
                    <a:lnTo>
                      <a:pt x="708" y="36"/>
                    </a:lnTo>
                    <a:lnTo>
                      <a:pt x="712" y="32"/>
                    </a:lnTo>
                    <a:lnTo>
                      <a:pt x="716" y="30"/>
                    </a:lnTo>
                    <a:lnTo>
                      <a:pt x="720" y="28"/>
                    </a:lnTo>
                    <a:lnTo>
                      <a:pt x="722" y="28"/>
                    </a:lnTo>
                    <a:lnTo>
                      <a:pt x="724" y="30"/>
                    </a:lnTo>
                    <a:lnTo>
                      <a:pt x="726" y="30"/>
                    </a:lnTo>
                    <a:lnTo>
                      <a:pt x="732" y="32"/>
                    </a:lnTo>
                    <a:lnTo>
                      <a:pt x="734" y="40"/>
                    </a:lnTo>
                    <a:lnTo>
                      <a:pt x="732" y="48"/>
                    </a:lnTo>
                    <a:lnTo>
                      <a:pt x="728" y="56"/>
                    </a:lnTo>
                    <a:lnTo>
                      <a:pt x="726" y="62"/>
                    </a:lnTo>
                    <a:lnTo>
                      <a:pt x="724" y="64"/>
                    </a:lnTo>
                    <a:lnTo>
                      <a:pt x="726" y="66"/>
                    </a:lnTo>
                    <a:lnTo>
                      <a:pt x="728" y="68"/>
                    </a:lnTo>
                    <a:lnTo>
                      <a:pt x="732" y="70"/>
                    </a:lnTo>
                    <a:lnTo>
                      <a:pt x="734" y="72"/>
                    </a:lnTo>
                    <a:lnTo>
                      <a:pt x="738" y="74"/>
                    </a:lnTo>
                    <a:lnTo>
                      <a:pt x="738" y="76"/>
                    </a:lnTo>
                    <a:lnTo>
                      <a:pt x="736" y="76"/>
                    </a:lnTo>
                    <a:lnTo>
                      <a:pt x="734" y="78"/>
                    </a:lnTo>
                    <a:lnTo>
                      <a:pt x="730" y="80"/>
                    </a:lnTo>
                    <a:lnTo>
                      <a:pt x="730" y="82"/>
                    </a:lnTo>
                    <a:lnTo>
                      <a:pt x="726" y="82"/>
                    </a:lnTo>
                    <a:lnTo>
                      <a:pt x="722" y="84"/>
                    </a:lnTo>
                    <a:lnTo>
                      <a:pt x="718" y="86"/>
                    </a:lnTo>
                    <a:lnTo>
                      <a:pt x="712" y="86"/>
                    </a:lnTo>
                    <a:lnTo>
                      <a:pt x="708" y="88"/>
                    </a:lnTo>
                    <a:lnTo>
                      <a:pt x="706" y="90"/>
                    </a:lnTo>
                    <a:lnTo>
                      <a:pt x="704" y="92"/>
                    </a:lnTo>
                    <a:lnTo>
                      <a:pt x="702" y="96"/>
                    </a:lnTo>
                    <a:lnTo>
                      <a:pt x="698" y="100"/>
                    </a:lnTo>
                    <a:lnTo>
                      <a:pt x="696" y="104"/>
                    </a:lnTo>
                    <a:lnTo>
                      <a:pt x="692" y="106"/>
                    </a:lnTo>
                    <a:lnTo>
                      <a:pt x="692" y="108"/>
                    </a:lnTo>
                    <a:lnTo>
                      <a:pt x="690" y="108"/>
                    </a:lnTo>
                    <a:lnTo>
                      <a:pt x="688" y="110"/>
                    </a:lnTo>
                    <a:lnTo>
                      <a:pt x="684" y="114"/>
                    </a:lnTo>
                    <a:lnTo>
                      <a:pt x="682" y="116"/>
                    </a:lnTo>
                    <a:lnTo>
                      <a:pt x="680" y="118"/>
                    </a:lnTo>
                    <a:lnTo>
                      <a:pt x="680" y="122"/>
                    </a:lnTo>
                    <a:lnTo>
                      <a:pt x="680" y="124"/>
                    </a:lnTo>
                    <a:lnTo>
                      <a:pt x="684" y="124"/>
                    </a:lnTo>
                    <a:lnTo>
                      <a:pt x="686" y="124"/>
                    </a:lnTo>
                    <a:lnTo>
                      <a:pt x="688" y="126"/>
                    </a:lnTo>
                    <a:lnTo>
                      <a:pt x="692" y="126"/>
                    </a:lnTo>
                    <a:lnTo>
                      <a:pt x="694" y="126"/>
                    </a:lnTo>
                    <a:lnTo>
                      <a:pt x="698" y="128"/>
                    </a:lnTo>
                    <a:lnTo>
                      <a:pt x="700" y="130"/>
                    </a:lnTo>
                    <a:lnTo>
                      <a:pt x="702" y="132"/>
                    </a:lnTo>
                    <a:lnTo>
                      <a:pt x="700" y="134"/>
                    </a:lnTo>
                    <a:lnTo>
                      <a:pt x="696" y="136"/>
                    </a:lnTo>
                    <a:lnTo>
                      <a:pt x="692" y="138"/>
                    </a:lnTo>
                    <a:lnTo>
                      <a:pt x="688" y="138"/>
                    </a:lnTo>
                    <a:lnTo>
                      <a:pt x="682" y="138"/>
                    </a:lnTo>
                    <a:lnTo>
                      <a:pt x="676" y="138"/>
                    </a:lnTo>
                    <a:lnTo>
                      <a:pt x="672" y="138"/>
                    </a:lnTo>
                    <a:lnTo>
                      <a:pt x="668" y="140"/>
                    </a:lnTo>
                    <a:lnTo>
                      <a:pt x="662" y="142"/>
                    </a:lnTo>
                    <a:lnTo>
                      <a:pt x="656" y="142"/>
                    </a:lnTo>
                    <a:lnTo>
                      <a:pt x="650" y="142"/>
                    </a:lnTo>
                    <a:lnTo>
                      <a:pt x="646" y="140"/>
                    </a:lnTo>
                    <a:lnTo>
                      <a:pt x="646" y="142"/>
                    </a:lnTo>
                    <a:lnTo>
                      <a:pt x="644" y="142"/>
                    </a:lnTo>
                    <a:lnTo>
                      <a:pt x="642" y="144"/>
                    </a:lnTo>
                    <a:lnTo>
                      <a:pt x="642" y="146"/>
                    </a:lnTo>
                    <a:lnTo>
                      <a:pt x="642" y="150"/>
                    </a:lnTo>
                    <a:lnTo>
                      <a:pt x="646" y="152"/>
                    </a:lnTo>
                    <a:lnTo>
                      <a:pt x="646" y="154"/>
                    </a:lnTo>
                    <a:lnTo>
                      <a:pt x="646" y="158"/>
                    </a:lnTo>
                    <a:lnTo>
                      <a:pt x="646" y="162"/>
                    </a:lnTo>
                    <a:lnTo>
                      <a:pt x="646" y="168"/>
                    </a:lnTo>
                    <a:lnTo>
                      <a:pt x="646" y="174"/>
                    </a:lnTo>
                    <a:lnTo>
                      <a:pt x="646" y="178"/>
                    </a:lnTo>
                    <a:lnTo>
                      <a:pt x="646" y="182"/>
                    </a:lnTo>
                    <a:lnTo>
                      <a:pt x="644" y="186"/>
                    </a:lnTo>
                    <a:lnTo>
                      <a:pt x="644" y="190"/>
                    </a:lnTo>
                    <a:lnTo>
                      <a:pt x="642" y="192"/>
                    </a:lnTo>
                    <a:lnTo>
                      <a:pt x="640" y="194"/>
                    </a:lnTo>
                    <a:lnTo>
                      <a:pt x="638" y="192"/>
                    </a:lnTo>
                    <a:lnTo>
                      <a:pt x="638" y="188"/>
                    </a:lnTo>
                    <a:lnTo>
                      <a:pt x="638" y="184"/>
                    </a:lnTo>
                    <a:lnTo>
                      <a:pt x="634" y="176"/>
                    </a:lnTo>
                    <a:lnTo>
                      <a:pt x="630" y="184"/>
                    </a:lnTo>
                    <a:lnTo>
                      <a:pt x="620" y="176"/>
                    </a:lnTo>
                    <a:lnTo>
                      <a:pt x="620" y="178"/>
                    </a:lnTo>
                    <a:lnTo>
                      <a:pt x="620" y="180"/>
                    </a:lnTo>
                    <a:lnTo>
                      <a:pt x="620" y="182"/>
                    </a:lnTo>
                    <a:lnTo>
                      <a:pt x="622" y="186"/>
                    </a:lnTo>
                    <a:lnTo>
                      <a:pt x="624" y="188"/>
                    </a:lnTo>
                    <a:lnTo>
                      <a:pt x="626" y="192"/>
                    </a:lnTo>
                    <a:lnTo>
                      <a:pt x="628" y="196"/>
                    </a:lnTo>
                    <a:lnTo>
                      <a:pt x="628" y="202"/>
                    </a:lnTo>
                    <a:lnTo>
                      <a:pt x="626" y="202"/>
                    </a:lnTo>
                    <a:lnTo>
                      <a:pt x="626" y="204"/>
                    </a:lnTo>
                    <a:lnTo>
                      <a:pt x="624" y="204"/>
                    </a:lnTo>
                    <a:lnTo>
                      <a:pt x="620" y="206"/>
                    </a:lnTo>
                    <a:lnTo>
                      <a:pt x="612" y="206"/>
                    </a:lnTo>
                    <a:lnTo>
                      <a:pt x="612" y="208"/>
                    </a:lnTo>
                    <a:lnTo>
                      <a:pt x="614" y="210"/>
                    </a:lnTo>
                    <a:lnTo>
                      <a:pt x="614" y="214"/>
                    </a:lnTo>
                    <a:lnTo>
                      <a:pt x="616" y="218"/>
                    </a:lnTo>
                    <a:lnTo>
                      <a:pt x="618" y="226"/>
                    </a:lnTo>
                    <a:lnTo>
                      <a:pt x="620" y="228"/>
                    </a:lnTo>
                    <a:lnTo>
                      <a:pt x="622" y="228"/>
                    </a:lnTo>
                    <a:lnTo>
                      <a:pt x="624" y="230"/>
                    </a:lnTo>
                    <a:lnTo>
                      <a:pt x="624" y="232"/>
                    </a:lnTo>
                    <a:lnTo>
                      <a:pt x="624" y="234"/>
                    </a:lnTo>
                    <a:lnTo>
                      <a:pt x="622" y="234"/>
                    </a:lnTo>
                    <a:lnTo>
                      <a:pt x="618" y="236"/>
                    </a:lnTo>
                    <a:lnTo>
                      <a:pt x="616" y="236"/>
                    </a:lnTo>
                    <a:lnTo>
                      <a:pt x="614" y="236"/>
                    </a:lnTo>
                    <a:lnTo>
                      <a:pt x="612" y="238"/>
                    </a:lnTo>
                    <a:lnTo>
                      <a:pt x="610" y="240"/>
                    </a:lnTo>
                    <a:lnTo>
                      <a:pt x="610" y="246"/>
                    </a:lnTo>
                    <a:lnTo>
                      <a:pt x="606" y="250"/>
                    </a:lnTo>
                    <a:lnTo>
                      <a:pt x="602" y="252"/>
                    </a:lnTo>
                    <a:lnTo>
                      <a:pt x="594" y="260"/>
                    </a:lnTo>
                    <a:lnTo>
                      <a:pt x="582" y="270"/>
                    </a:lnTo>
                    <a:lnTo>
                      <a:pt x="570" y="284"/>
                    </a:lnTo>
                    <a:lnTo>
                      <a:pt x="556" y="296"/>
                    </a:lnTo>
                    <a:lnTo>
                      <a:pt x="554" y="300"/>
                    </a:lnTo>
                    <a:lnTo>
                      <a:pt x="552" y="304"/>
                    </a:lnTo>
                    <a:lnTo>
                      <a:pt x="552" y="308"/>
                    </a:lnTo>
                    <a:lnTo>
                      <a:pt x="550" y="316"/>
                    </a:lnTo>
                    <a:lnTo>
                      <a:pt x="550" y="320"/>
                    </a:lnTo>
                    <a:lnTo>
                      <a:pt x="550" y="324"/>
                    </a:lnTo>
                    <a:lnTo>
                      <a:pt x="552" y="332"/>
                    </a:lnTo>
                    <a:lnTo>
                      <a:pt x="554" y="338"/>
                    </a:lnTo>
                    <a:lnTo>
                      <a:pt x="558" y="346"/>
                    </a:lnTo>
                    <a:lnTo>
                      <a:pt x="560" y="348"/>
                    </a:lnTo>
                    <a:lnTo>
                      <a:pt x="566" y="356"/>
                    </a:lnTo>
                    <a:lnTo>
                      <a:pt x="572" y="368"/>
                    </a:lnTo>
                    <a:lnTo>
                      <a:pt x="574" y="382"/>
                    </a:lnTo>
                    <a:lnTo>
                      <a:pt x="572" y="398"/>
                    </a:lnTo>
                    <a:lnTo>
                      <a:pt x="572" y="400"/>
                    </a:lnTo>
                    <a:lnTo>
                      <a:pt x="570" y="400"/>
                    </a:lnTo>
                    <a:lnTo>
                      <a:pt x="570" y="402"/>
                    </a:lnTo>
                    <a:lnTo>
                      <a:pt x="568" y="404"/>
                    </a:lnTo>
                    <a:lnTo>
                      <a:pt x="566" y="404"/>
                    </a:lnTo>
                    <a:lnTo>
                      <a:pt x="562" y="404"/>
                    </a:lnTo>
                    <a:lnTo>
                      <a:pt x="558" y="400"/>
                    </a:lnTo>
                    <a:lnTo>
                      <a:pt x="554" y="394"/>
                    </a:lnTo>
                    <a:lnTo>
                      <a:pt x="550" y="392"/>
                    </a:lnTo>
                    <a:lnTo>
                      <a:pt x="542" y="384"/>
                    </a:lnTo>
                    <a:lnTo>
                      <a:pt x="532" y="368"/>
                    </a:lnTo>
                    <a:lnTo>
                      <a:pt x="528" y="348"/>
                    </a:lnTo>
                    <a:lnTo>
                      <a:pt x="528" y="346"/>
                    </a:lnTo>
                    <a:lnTo>
                      <a:pt x="528" y="344"/>
                    </a:lnTo>
                    <a:lnTo>
                      <a:pt x="528" y="340"/>
                    </a:lnTo>
                    <a:lnTo>
                      <a:pt x="526" y="336"/>
                    </a:lnTo>
                    <a:lnTo>
                      <a:pt x="524" y="332"/>
                    </a:lnTo>
                    <a:lnTo>
                      <a:pt x="520" y="330"/>
                    </a:lnTo>
                    <a:lnTo>
                      <a:pt x="516" y="326"/>
                    </a:lnTo>
                    <a:lnTo>
                      <a:pt x="510" y="326"/>
                    </a:lnTo>
                    <a:lnTo>
                      <a:pt x="504" y="324"/>
                    </a:lnTo>
                    <a:lnTo>
                      <a:pt x="490" y="324"/>
                    </a:lnTo>
                    <a:lnTo>
                      <a:pt x="472" y="322"/>
                    </a:lnTo>
                    <a:lnTo>
                      <a:pt x="456" y="322"/>
                    </a:lnTo>
                    <a:lnTo>
                      <a:pt x="446" y="324"/>
                    </a:lnTo>
                    <a:lnTo>
                      <a:pt x="444" y="328"/>
                    </a:lnTo>
                    <a:lnTo>
                      <a:pt x="438" y="330"/>
                    </a:lnTo>
                    <a:lnTo>
                      <a:pt x="426" y="332"/>
                    </a:lnTo>
                    <a:lnTo>
                      <a:pt x="406" y="332"/>
                    </a:lnTo>
                    <a:lnTo>
                      <a:pt x="402" y="332"/>
                    </a:lnTo>
                    <a:lnTo>
                      <a:pt x="394" y="332"/>
                    </a:lnTo>
                    <a:lnTo>
                      <a:pt x="382" y="334"/>
                    </a:lnTo>
                    <a:lnTo>
                      <a:pt x="372" y="340"/>
                    </a:lnTo>
                    <a:lnTo>
                      <a:pt x="354" y="348"/>
                    </a:lnTo>
                    <a:lnTo>
                      <a:pt x="342" y="366"/>
                    </a:lnTo>
                    <a:lnTo>
                      <a:pt x="342" y="368"/>
                    </a:lnTo>
                    <a:lnTo>
                      <a:pt x="344" y="370"/>
                    </a:lnTo>
                    <a:lnTo>
                      <a:pt x="344" y="372"/>
                    </a:lnTo>
                    <a:lnTo>
                      <a:pt x="344" y="376"/>
                    </a:lnTo>
                    <a:lnTo>
                      <a:pt x="344" y="378"/>
                    </a:lnTo>
                    <a:lnTo>
                      <a:pt x="344" y="382"/>
                    </a:lnTo>
                    <a:lnTo>
                      <a:pt x="340" y="382"/>
                    </a:lnTo>
                    <a:lnTo>
                      <a:pt x="338" y="382"/>
                    </a:lnTo>
                    <a:lnTo>
                      <a:pt x="330" y="376"/>
                    </a:lnTo>
                    <a:lnTo>
                      <a:pt x="320" y="366"/>
                    </a:lnTo>
                    <a:lnTo>
                      <a:pt x="308" y="350"/>
                    </a:lnTo>
                    <a:lnTo>
                      <a:pt x="306" y="348"/>
                    </a:lnTo>
                    <a:lnTo>
                      <a:pt x="304" y="344"/>
                    </a:lnTo>
                    <a:lnTo>
                      <a:pt x="300" y="342"/>
                    </a:lnTo>
                    <a:lnTo>
                      <a:pt x="296" y="338"/>
                    </a:lnTo>
                    <a:lnTo>
                      <a:pt x="292" y="336"/>
                    </a:lnTo>
                    <a:lnTo>
                      <a:pt x="288" y="336"/>
                    </a:lnTo>
                    <a:lnTo>
                      <a:pt x="286" y="338"/>
                    </a:lnTo>
                    <a:lnTo>
                      <a:pt x="284" y="338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2" y="340"/>
                    </a:lnTo>
                    <a:lnTo>
                      <a:pt x="266" y="336"/>
                    </a:lnTo>
                    <a:lnTo>
                      <a:pt x="262" y="334"/>
                    </a:lnTo>
                    <a:lnTo>
                      <a:pt x="254" y="328"/>
                    </a:lnTo>
                    <a:lnTo>
                      <a:pt x="246" y="316"/>
                    </a:lnTo>
                    <a:lnTo>
                      <a:pt x="242" y="300"/>
                    </a:lnTo>
                    <a:lnTo>
                      <a:pt x="240" y="298"/>
                    </a:lnTo>
                    <a:lnTo>
                      <a:pt x="238" y="298"/>
                    </a:lnTo>
                    <a:lnTo>
                      <a:pt x="234" y="296"/>
                    </a:lnTo>
                    <a:lnTo>
                      <a:pt x="228" y="296"/>
                    </a:lnTo>
                    <a:lnTo>
                      <a:pt x="224" y="296"/>
                    </a:lnTo>
                    <a:lnTo>
                      <a:pt x="218" y="296"/>
                    </a:lnTo>
                    <a:lnTo>
                      <a:pt x="214" y="300"/>
                    </a:lnTo>
                    <a:lnTo>
                      <a:pt x="210" y="302"/>
                    </a:lnTo>
                    <a:lnTo>
                      <a:pt x="198" y="306"/>
                    </a:lnTo>
                    <a:lnTo>
                      <a:pt x="180" y="306"/>
                    </a:lnTo>
                    <a:lnTo>
                      <a:pt x="176" y="306"/>
                    </a:lnTo>
                    <a:lnTo>
                      <a:pt x="166" y="304"/>
                    </a:lnTo>
                    <a:lnTo>
                      <a:pt x="152" y="300"/>
                    </a:lnTo>
                    <a:lnTo>
                      <a:pt x="140" y="296"/>
                    </a:lnTo>
                    <a:lnTo>
                      <a:pt x="130" y="290"/>
                    </a:lnTo>
                    <a:lnTo>
                      <a:pt x="128" y="288"/>
                    </a:lnTo>
                    <a:lnTo>
                      <a:pt x="124" y="286"/>
                    </a:lnTo>
                    <a:lnTo>
                      <a:pt x="112" y="288"/>
                    </a:lnTo>
                    <a:lnTo>
                      <a:pt x="98" y="296"/>
                    </a:lnTo>
                    <a:lnTo>
                      <a:pt x="96" y="294"/>
                    </a:lnTo>
                    <a:lnTo>
                      <a:pt x="96" y="292"/>
                    </a:lnTo>
                    <a:lnTo>
                      <a:pt x="94" y="288"/>
                    </a:lnTo>
                    <a:lnTo>
                      <a:pt x="90" y="282"/>
                    </a:lnTo>
                    <a:lnTo>
                      <a:pt x="88" y="276"/>
                    </a:lnTo>
                    <a:lnTo>
                      <a:pt x="84" y="272"/>
                    </a:lnTo>
                    <a:lnTo>
                      <a:pt x="80" y="268"/>
                    </a:lnTo>
                    <a:lnTo>
                      <a:pt x="74" y="266"/>
                    </a:lnTo>
                    <a:lnTo>
                      <a:pt x="70" y="264"/>
                    </a:lnTo>
                    <a:lnTo>
                      <a:pt x="66" y="262"/>
                    </a:lnTo>
                    <a:lnTo>
                      <a:pt x="60" y="258"/>
                    </a:lnTo>
                    <a:lnTo>
                      <a:pt x="52" y="252"/>
                    </a:lnTo>
                    <a:lnTo>
                      <a:pt x="46" y="242"/>
                    </a:lnTo>
                    <a:lnTo>
                      <a:pt x="42" y="240"/>
                    </a:lnTo>
                    <a:lnTo>
                      <a:pt x="36" y="230"/>
                    </a:lnTo>
                    <a:lnTo>
                      <a:pt x="26" y="216"/>
                    </a:lnTo>
                    <a:lnTo>
                      <a:pt x="16" y="200"/>
                    </a:lnTo>
                    <a:lnTo>
                      <a:pt x="8" y="180"/>
                    </a:lnTo>
                    <a:lnTo>
                      <a:pt x="2" y="156"/>
                    </a:lnTo>
                    <a:lnTo>
                      <a:pt x="2" y="152"/>
                    </a:lnTo>
                    <a:lnTo>
                      <a:pt x="0" y="140"/>
                    </a:lnTo>
                    <a:lnTo>
                      <a:pt x="0" y="124"/>
                    </a:lnTo>
                    <a:lnTo>
                      <a:pt x="0" y="110"/>
                    </a:lnTo>
                    <a:lnTo>
                      <a:pt x="4" y="104"/>
                    </a:lnTo>
                    <a:lnTo>
                      <a:pt x="6" y="102"/>
                    </a:lnTo>
                    <a:lnTo>
                      <a:pt x="8" y="100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86"/>
                    </a:lnTo>
                    <a:lnTo>
                      <a:pt x="8" y="80"/>
                    </a:lnTo>
                    <a:lnTo>
                      <a:pt x="8" y="76"/>
                    </a:lnTo>
                    <a:lnTo>
                      <a:pt x="6" y="62"/>
                    </a:lnTo>
                    <a:lnTo>
                      <a:pt x="6" y="46"/>
                    </a:lnTo>
                    <a:lnTo>
                      <a:pt x="4" y="3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0"/>
                    </a:lnTo>
                    <a:lnTo>
                      <a:pt x="380" y="0"/>
                    </a:lnTo>
                    <a:lnTo>
                      <a:pt x="392" y="10"/>
                    </a:lnTo>
                    <a:lnTo>
                      <a:pt x="416" y="12"/>
                    </a:lnTo>
                    <a:lnTo>
                      <a:pt x="418" y="16"/>
                    </a:lnTo>
                    <a:lnTo>
                      <a:pt x="422" y="18"/>
                    </a:lnTo>
                    <a:lnTo>
                      <a:pt x="426" y="20"/>
                    </a:lnTo>
                    <a:lnTo>
                      <a:pt x="430" y="20"/>
                    </a:lnTo>
                    <a:lnTo>
                      <a:pt x="432" y="20"/>
                    </a:lnTo>
                    <a:lnTo>
                      <a:pt x="434" y="20"/>
                    </a:lnTo>
                    <a:lnTo>
                      <a:pt x="432" y="22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32"/>
                    </a:lnTo>
                    <a:lnTo>
                      <a:pt x="422" y="34"/>
                    </a:lnTo>
                    <a:lnTo>
                      <a:pt x="420" y="36"/>
                    </a:lnTo>
                    <a:lnTo>
                      <a:pt x="416" y="38"/>
                    </a:lnTo>
                    <a:lnTo>
                      <a:pt x="416" y="40"/>
                    </a:lnTo>
                    <a:lnTo>
                      <a:pt x="416" y="42"/>
                    </a:lnTo>
                    <a:lnTo>
                      <a:pt x="418" y="42"/>
                    </a:lnTo>
                    <a:lnTo>
                      <a:pt x="422" y="44"/>
                    </a:lnTo>
                    <a:lnTo>
                      <a:pt x="428" y="44"/>
                    </a:lnTo>
                    <a:lnTo>
                      <a:pt x="432" y="44"/>
                    </a:lnTo>
                    <a:lnTo>
                      <a:pt x="442" y="44"/>
                    </a:lnTo>
                    <a:lnTo>
                      <a:pt x="454" y="42"/>
                    </a:lnTo>
                    <a:lnTo>
                      <a:pt x="464" y="38"/>
                    </a:lnTo>
                    <a:lnTo>
                      <a:pt x="466" y="40"/>
                    </a:lnTo>
                    <a:lnTo>
                      <a:pt x="468" y="40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84" y="42"/>
                    </a:lnTo>
                    <a:lnTo>
                      <a:pt x="486" y="42"/>
                    </a:lnTo>
                    <a:lnTo>
                      <a:pt x="490" y="40"/>
                    </a:lnTo>
                    <a:lnTo>
                      <a:pt x="492" y="40"/>
                    </a:lnTo>
                    <a:lnTo>
                      <a:pt x="496" y="40"/>
                    </a:lnTo>
                    <a:lnTo>
                      <a:pt x="500" y="42"/>
                    </a:lnTo>
                    <a:lnTo>
                      <a:pt x="502" y="44"/>
                    </a:lnTo>
                    <a:lnTo>
                      <a:pt x="502" y="46"/>
                    </a:lnTo>
                    <a:lnTo>
                      <a:pt x="502" y="48"/>
                    </a:lnTo>
                    <a:lnTo>
                      <a:pt x="502" y="50"/>
                    </a:lnTo>
                    <a:lnTo>
                      <a:pt x="502" y="52"/>
                    </a:lnTo>
                    <a:lnTo>
                      <a:pt x="498" y="56"/>
                    </a:lnTo>
                    <a:lnTo>
                      <a:pt x="496" y="58"/>
                    </a:lnTo>
                    <a:lnTo>
                      <a:pt x="490" y="60"/>
                    </a:lnTo>
                    <a:lnTo>
                      <a:pt x="490" y="58"/>
                    </a:lnTo>
                    <a:lnTo>
                      <a:pt x="488" y="58"/>
                    </a:lnTo>
                    <a:lnTo>
                      <a:pt x="484" y="58"/>
                    </a:lnTo>
                    <a:lnTo>
                      <a:pt x="482" y="58"/>
                    </a:lnTo>
                    <a:lnTo>
                      <a:pt x="478" y="58"/>
                    </a:lnTo>
                    <a:lnTo>
                      <a:pt x="476" y="62"/>
                    </a:lnTo>
                    <a:lnTo>
                      <a:pt x="472" y="66"/>
                    </a:lnTo>
                    <a:lnTo>
                      <a:pt x="470" y="72"/>
                    </a:lnTo>
                    <a:lnTo>
                      <a:pt x="472" y="72"/>
                    </a:lnTo>
                    <a:lnTo>
                      <a:pt x="474" y="74"/>
                    </a:lnTo>
                    <a:lnTo>
                      <a:pt x="476" y="76"/>
                    </a:lnTo>
                    <a:lnTo>
                      <a:pt x="476" y="80"/>
                    </a:lnTo>
                    <a:lnTo>
                      <a:pt x="476" y="84"/>
                    </a:lnTo>
                    <a:lnTo>
                      <a:pt x="474" y="90"/>
                    </a:lnTo>
                    <a:lnTo>
                      <a:pt x="472" y="92"/>
                    </a:lnTo>
                    <a:lnTo>
                      <a:pt x="470" y="102"/>
                    </a:lnTo>
                    <a:lnTo>
                      <a:pt x="468" y="114"/>
                    </a:lnTo>
                    <a:lnTo>
                      <a:pt x="468" y="126"/>
                    </a:lnTo>
                    <a:lnTo>
                      <a:pt x="472" y="134"/>
                    </a:lnTo>
                    <a:lnTo>
                      <a:pt x="474" y="134"/>
                    </a:lnTo>
                    <a:lnTo>
                      <a:pt x="478" y="132"/>
                    </a:lnTo>
                    <a:lnTo>
                      <a:pt x="480" y="130"/>
                    </a:lnTo>
                    <a:lnTo>
                      <a:pt x="484" y="126"/>
                    </a:lnTo>
                    <a:lnTo>
                      <a:pt x="486" y="122"/>
                    </a:lnTo>
                    <a:lnTo>
                      <a:pt x="488" y="116"/>
                    </a:lnTo>
                    <a:lnTo>
                      <a:pt x="490" y="108"/>
                    </a:lnTo>
                    <a:lnTo>
                      <a:pt x="494" y="82"/>
                    </a:lnTo>
                    <a:lnTo>
                      <a:pt x="500" y="78"/>
                    </a:lnTo>
                    <a:lnTo>
                      <a:pt x="500" y="74"/>
                    </a:lnTo>
                    <a:lnTo>
                      <a:pt x="500" y="72"/>
                    </a:lnTo>
                    <a:lnTo>
                      <a:pt x="502" y="68"/>
                    </a:lnTo>
                    <a:lnTo>
                      <a:pt x="504" y="64"/>
                    </a:lnTo>
                    <a:lnTo>
                      <a:pt x="506" y="62"/>
                    </a:lnTo>
                    <a:lnTo>
                      <a:pt x="508" y="62"/>
                    </a:lnTo>
                    <a:lnTo>
                      <a:pt x="510" y="62"/>
                    </a:lnTo>
                    <a:lnTo>
                      <a:pt x="514" y="62"/>
                    </a:lnTo>
                    <a:lnTo>
                      <a:pt x="516" y="64"/>
                    </a:lnTo>
                    <a:lnTo>
                      <a:pt x="520" y="64"/>
                    </a:lnTo>
                    <a:lnTo>
                      <a:pt x="522" y="68"/>
                    </a:lnTo>
                    <a:lnTo>
                      <a:pt x="524" y="72"/>
                    </a:lnTo>
                    <a:lnTo>
                      <a:pt x="524" y="76"/>
                    </a:lnTo>
                    <a:lnTo>
                      <a:pt x="520" y="86"/>
                    </a:lnTo>
                    <a:lnTo>
                      <a:pt x="520" y="88"/>
                    </a:lnTo>
                    <a:lnTo>
                      <a:pt x="518" y="90"/>
                    </a:lnTo>
                    <a:lnTo>
                      <a:pt x="518" y="92"/>
                    </a:lnTo>
                    <a:lnTo>
                      <a:pt x="520" y="92"/>
                    </a:lnTo>
                    <a:lnTo>
                      <a:pt x="524" y="92"/>
                    </a:lnTo>
                    <a:lnTo>
                      <a:pt x="526" y="90"/>
                    </a:lnTo>
                    <a:lnTo>
                      <a:pt x="528" y="88"/>
                    </a:lnTo>
                    <a:lnTo>
                      <a:pt x="528" y="90"/>
                    </a:lnTo>
                    <a:lnTo>
                      <a:pt x="530" y="92"/>
                    </a:lnTo>
                    <a:lnTo>
                      <a:pt x="534" y="96"/>
                    </a:lnTo>
                    <a:lnTo>
                      <a:pt x="536" y="100"/>
                    </a:lnTo>
                    <a:lnTo>
                      <a:pt x="536" y="104"/>
                    </a:lnTo>
                    <a:lnTo>
                      <a:pt x="536" y="108"/>
                    </a:lnTo>
                    <a:lnTo>
                      <a:pt x="536" y="114"/>
                    </a:lnTo>
                    <a:lnTo>
                      <a:pt x="536" y="118"/>
                    </a:lnTo>
                    <a:lnTo>
                      <a:pt x="536" y="120"/>
                    </a:lnTo>
                    <a:lnTo>
                      <a:pt x="534" y="122"/>
                    </a:lnTo>
                    <a:lnTo>
                      <a:pt x="534" y="124"/>
                    </a:lnTo>
                    <a:lnTo>
                      <a:pt x="534" y="126"/>
                    </a:lnTo>
                    <a:lnTo>
                      <a:pt x="536" y="126"/>
                    </a:lnTo>
                    <a:lnTo>
                      <a:pt x="536" y="128"/>
                    </a:lnTo>
                    <a:lnTo>
                      <a:pt x="540" y="128"/>
                    </a:lnTo>
                    <a:lnTo>
                      <a:pt x="546" y="128"/>
                    </a:lnTo>
                    <a:lnTo>
                      <a:pt x="554" y="128"/>
                    </a:lnTo>
                    <a:lnTo>
                      <a:pt x="560" y="128"/>
                    </a:lnTo>
                    <a:lnTo>
                      <a:pt x="568" y="126"/>
                    </a:lnTo>
                    <a:lnTo>
                      <a:pt x="572" y="124"/>
                    </a:lnTo>
                    <a:lnTo>
                      <a:pt x="576" y="122"/>
                    </a:lnTo>
                    <a:lnTo>
                      <a:pt x="582" y="118"/>
                    </a:lnTo>
                    <a:lnTo>
                      <a:pt x="586" y="114"/>
                    </a:lnTo>
                    <a:lnTo>
                      <a:pt x="590" y="110"/>
                    </a:lnTo>
                    <a:lnTo>
                      <a:pt x="592" y="106"/>
                    </a:lnTo>
                    <a:lnTo>
                      <a:pt x="594" y="104"/>
                    </a:lnTo>
                    <a:lnTo>
                      <a:pt x="592" y="102"/>
                    </a:lnTo>
                    <a:lnTo>
                      <a:pt x="592" y="98"/>
                    </a:lnTo>
                    <a:lnTo>
                      <a:pt x="594" y="96"/>
                    </a:lnTo>
                    <a:lnTo>
                      <a:pt x="596" y="94"/>
                    </a:lnTo>
                    <a:lnTo>
                      <a:pt x="600" y="92"/>
                    </a:lnTo>
                    <a:lnTo>
                      <a:pt x="606" y="90"/>
                    </a:lnTo>
                    <a:lnTo>
                      <a:pt x="614" y="90"/>
                    </a:lnTo>
                    <a:lnTo>
                      <a:pt x="620" y="90"/>
                    </a:lnTo>
                    <a:lnTo>
                      <a:pt x="626" y="88"/>
                    </a:lnTo>
                    <a:lnTo>
                      <a:pt x="630" y="86"/>
                    </a:lnTo>
                    <a:lnTo>
                      <a:pt x="634" y="82"/>
                    </a:lnTo>
                    <a:lnTo>
                      <a:pt x="638" y="78"/>
                    </a:lnTo>
                    <a:lnTo>
                      <a:pt x="640" y="7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1" name="Freeform 234"/>
              <p:cNvSpPr>
                <a:spLocks/>
              </p:cNvSpPr>
              <p:nvPr/>
            </p:nvSpPr>
            <p:spPr bwMode="gray">
              <a:xfrm>
                <a:off x="4152697" y="4520197"/>
                <a:ext cx="263770" cy="305046"/>
              </a:xfrm>
              <a:custGeom>
                <a:avLst/>
                <a:gdLst>
                  <a:gd name="T0" fmla="*/ 38 w 108"/>
                  <a:gd name="T1" fmla="*/ 2 h 200"/>
                  <a:gd name="T2" fmla="*/ 32 w 108"/>
                  <a:gd name="T3" fmla="*/ 0 h 200"/>
                  <a:gd name="T4" fmla="*/ 24 w 108"/>
                  <a:gd name="T5" fmla="*/ 2 h 200"/>
                  <a:gd name="T6" fmla="*/ 14 w 108"/>
                  <a:gd name="T7" fmla="*/ 16 h 200"/>
                  <a:gd name="T8" fmla="*/ 16 w 108"/>
                  <a:gd name="T9" fmla="*/ 22 h 200"/>
                  <a:gd name="T10" fmla="*/ 14 w 108"/>
                  <a:gd name="T11" fmla="*/ 32 h 200"/>
                  <a:gd name="T12" fmla="*/ 10 w 108"/>
                  <a:gd name="T13" fmla="*/ 36 h 200"/>
                  <a:gd name="T14" fmla="*/ 6 w 108"/>
                  <a:gd name="T15" fmla="*/ 44 h 200"/>
                  <a:gd name="T16" fmla="*/ 4 w 108"/>
                  <a:gd name="T17" fmla="*/ 52 h 200"/>
                  <a:gd name="T18" fmla="*/ 14 w 108"/>
                  <a:gd name="T19" fmla="*/ 54 h 200"/>
                  <a:gd name="T20" fmla="*/ 12 w 108"/>
                  <a:gd name="T21" fmla="*/ 58 h 200"/>
                  <a:gd name="T22" fmla="*/ 12 w 108"/>
                  <a:gd name="T23" fmla="*/ 64 h 200"/>
                  <a:gd name="T24" fmla="*/ 14 w 108"/>
                  <a:gd name="T25" fmla="*/ 70 h 200"/>
                  <a:gd name="T26" fmla="*/ 24 w 108"/>
                  <a:gd name="T27" fmla="*/ 76 h 200"/>
                  <a:gd name="T28" fmla="*/ 24 w 108"/>
                  <a:gd name="T29" fmla="*/ 82 h 200"/>
                  <a:gd name="T30" fmla="*/ 22 w 108"/>
                  <a:gd name="T31" fmla="*/ 86 h 200"/>
                  <a:gd name="T32" fmla="*/ 18 w 108"/>
                  <a:gd name="T33" fmla="*/ 94 h 200"/>
                  <a:gd name="T34" fmla="*/ 20 w 108"/>
                  <a:gd name="T35" fmla="*/ 98 h 200"/>
                  <a:gd name="T36" fmla="*/ 32 w 108"/>
                  <a:gd name="T37" fmla="*/ 92 h 200"/>
                  <a:gd name="T38" fmla="*/ 36 w 108"/>
                  <a:gd name="T39" fmla="*/ 102 h 200"/>
                  <a:gd name="T40" fmla="*/ 40 w 108"/>
                  <a:gd name="T41" fmla="*/ 114 h 200"/>
                  <a:gd name="T42" fmla="*/ 22 w 108"/>
                  <a:gd name="T43" fmla="*/ 128 h 200"/>
                  <a:gd name="T44" fmla="*/ 28 w 108"/>
                  <a:gd name="T45" fmla="*/ 140 h 200"/>
                  <a:gd name="T46" fmla="*/ 20 w 108"/>
                  <a:gd name="T47" fmla="*/ 154 h 200"/>
                  <a:gd name="T48" fmla="*/ 18 w 108"/>
                  <a:gd name="T49" fmla="*/ 156 h 200"/>
                  <a:gd name="T50" fmla="*/ 18 w 108"/>
                  <a:gd name="T51" fmla="*/ 160 h 200"/>
                  <a:gd name="T52" fmla="*/ 38 w 108"/>
                  <a:gd name="T53" fmla="*/ 164 h 200"/>
                  <a:gd name="T54" fmla="*/ 52 w 108"/>
                  <a:gd name="T55" fmla="*/ 158 h 200"/>
                  <a:gd name="T56" fmla="*/ 52 w 108"/>
                  <a:gd name="T57" fmla="*/ 162 h 200"/>
                  <a:gd name="T58" fmla="*/ 44 w 108"/>
                  <a:gd name="T59" fmla="*/ 166 h 200"/>
                  <a:gd name="T60" fmla="*/ 0 w 108"/>
                  <a:gd name="T61" fmla="*/ 196 h 200"/>
                  <a:gd name="T62" fmla="*/ 28 w 108"/>
                  <a:gd name="T63" fmla="*/ 190 h 200"/>
                  <a:gd name="T64" fmla="*/ 58 w 108"/>
                  <a:gd name="T65" fmla="*/ 188 h 200"/>
                  <a:gd name="T66" fmla="*/ 108 w 108"/>
                  <a:gd name="T67" fmla="*/ 174 h 200"/>
                  <a:gd name="T68" fmla="*/ 98 w 108"/>
                  <a:gd name="T69" fmla="*/ 164 h 200"/>
                  <a:gd name="T70" fmla="*/ 102 w 108"/>
                  <a:gd name="T71" fmla="*/ 158 h 200"/>
                  <a:gd name="T72" fmla="*/ 102 w 108"/>
                  <a:gd name="T73" fmla="*/ 150 h 200"/>
                  <a:gd name="T74" fmla="*/ 100 w 108"/>
                  <a:gd name="T75" fmla="*/ 146 h 200"/>
                  <a:gd name="T76" fmla="*/ 94 w 108"/>
                  <a:gd name="T77" fmla="*/ 140 h 200"/>
                  <a:gd name="T78" fmla="*/ 88 w 108"/>
                  <a:gd name="T79" fmla="*/ 136 h 200"/>
                  <a:gd name="T80" fmla="*/ 84 w 108"/>
                  <a:gd name="T81" fmla="*/ 120 h 200"/>
                  <a:gd name="T82" fmla="*/ 66 w 108"/>
                  <a:gd name="T83" fmla="*/ 100 h 200"/>
                  <a:gd name="T84" fmla="*/ 64 w 108"/>
                  <a:gd name="T85" fmla="*/ 84 h 200"/>
                  <a:gd name="T86" fmla="*/ 56 w 108"/>
                  <a:gd name="T87" fmla="*/ 68 h 200"/>
                  <a:gd name="T88" fmla="*/ 56 w 108"/>
                  <a:gd name="T89" fmla="*/ 44 h 200"/>
                  <a:gd name="T90" fmla="*/ 56 w 108"/>
                  <a:gd name="T91" fmla="*/ 42 h 200"/>
                  <a:gd name="T92" fmla="*/ 52 w 108"/>
                  <a:gd name="T93" fmla="*/ 36 h 200"/>
                  <a:gd name="T94" fmla="*/ 48 w 108"/>
                  <a:gd name="T95" fmla="*/ 34 h 200"/>
                  <a:gd name="T96" fmla="*/ 44 w 108"/>
                  <a:gd name="T97" fmla="*/ 32 h 200"/>
                  <a:gd name="T98" fmla="*/ 36 w 108"/>
                  <a:gd name="T99" fmla="*/ 28 h 200"/>
                  <a:gd name="T100" fmla="*/ 34 w 108"/>
                  <a:gd name="T101" fmla="*/ 26 h 200"/>
                  <a:gd name="T102" fmla="*/ 34 w 108"/>
                  <a:gd name="T103" fmla="*/ 20 h 200"/>
                  <a:gd name="T104" fmla="*/ 38 w 108"/>
                  <a:gd name="T105" fmla="*/ 14 h 200"/>
                  <a:gd name="T106" fmla="*/ 40 w 108"/>
                  <a:gd name="T107" fmla="*/ 8 h 200"/>
                  <a:gd name="T108" fmla="*/ 40 w 108"/>
                  <a:gd name="T109" fmla="*/ 4 h 200"/>
                  <a:gd name="T110" fmla="*/ 40 w 108"/>
                  <a:gd name="T111" fmla="*/ 2 h 20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08"/>
                  <a:gd name="T169" fmla="*/ 0 h 200"/>
                  <a:gd name="T170" fmla="*/ 108 w 108"/>
                  <a:gd name="T171" fmla="*/ 200 h 20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08" h="200">
                    <a:moveTo>
                      <a:pt x="40" y="2"/>
                    </a:moveTo>
                    <a:lnTo>
                      <a:pt x="38" y="2"/>
                    </a:lnTo>
                    <a:lnTo>
                      <a:pt x="36" y="2"/>
                    </a:lnTo>
                    <a:lnTo>
                      <a:pt x="32" y="0"/>
                    </a:lnTo>
                    <a:lnTo>
                      <a:pt x="28" y="0"/>
                    </a:lnTo>
                    <a:lnTo>
                      <a:pt x="24" y="2"/>
                    </a:lnTo>
                    <a:lnTo>
                      <a:pt x="14" y="16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6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8" y="38"/>
                    </a:lnTo>
                    <a:lnTo>
                      <a:pt x="6" y="44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6" y="56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2" y="58"/>
                    </a:lnTo>
                    <a:lnTo>
                      <a:pt x="12" y="60"/>
                    </a:lnTo>
                    <a:lnTo>
                      <a:pt x="12" y="64"/>
                    </a:lnTo>
                    <a:lnTo>
                      <a:pt x="12" y="66"/>
                    </a:lnTo>
                    <a:lnTo>
                      <a:pt x="14" y="70"/>
                    </a:lnTo>
                    <a:lnTo>
                      <a:pt x="16" y="72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4" y="82"/>
                    </a:lnTo>
                    <a:lnTo>
                      <a:pt x="22" y="84"/>
                    </a:lnTo>
                    <a:lnTo>
                      <a:pt x="22" y="86"/>
                    </a:lnTo>
                    <a:lnTo>
                      <a:pt x="20" y="90"/>
                    </a:lnTo>
                    <a:lnTo>
                      <a:pt x="18" y="94"/>
                    </a:lnTo>
                    <a:lnTo>
                      <a:pt x="18" y="96"/>
                    </a:lnTo>
                    <a:lnTo>
                      <a:pt x="20" y="98"/>
                    </a:lnTo>
                    <a:lnTo>
                      <a:pt x="22" y="100"/>
                    </a:lnTo>
                    <a:lnTo>
                      <a:pt x="32" y="92"/>
                    </a:lnTo>
                    <a:lnTo>
                      <a:pt x="44" y="94"/>
                    </a:lnTo>
                    <a:lnTo>
                      <a:pt x="36" y="102"/>
                    </a:lnTo>
                    <a:lnTo>
                      <a:pt x="34" y="114"/>
                    </a:lnTo>
                    <a:lnTo>
                      <a:pt x="40" y="114"/>
                    </a:lnTo>
                    <a:lnTo>
                      <a:pt x="40" y="128"/>
                    </a:lnTo>
                    <a:lnTo>
                      <a:pt x="22" y="128"/>
                    </a:lnTo>
                    <a:lnTo>
                      <a:pt x="22" y="138"/>
                    </a:lnTo>
                    <a:lnTo>
                      <a:pt x="28" y="140"/>
                    </a:lnTo>
                    <a:lnTo>
                      <a:pt x="20" y="152"/>
                    </a:lnTo>
                    <a:lnTo>
                      <a:pt x="20" y="154"/>
                    </a:lnTo>
                    <a:lnTo>
                      <a:pt x="18" y="154"/>
                    </a:lnTo>
                    <a:lnTo>
                      <a:pt x="18" y="156"/>
                    </a:lnTo>
                    <a:lnTo>
                      <a:pt x="18" y="158"/>
                    </a:lnTo>
                    <a:lnTo>
                      <a:pt x="18" y="160"/>
                    </a:lnTo>
                    <a:lnTo>
                      <a:pt x="20" y="160"/>
                    </a:lnTo>
                    <a:lnTo>
                      <a:pt x="38" y="164"/>
                    </a:lnTo>
                    <a:lnTo>
                      <a:pt x="48" y="160"/>
                    </a:lnTo>
                    <a:lnTo>
                      <a:pt x="52" y="158"/>
                    </a:lnTo>
                    <a:lnTo>
                      <a:pt x="52" y="160"/>
                    </a:lnTo>
                    <a:lnTo>
                      <a:pt x="52" y="162"/>
                    </a:lnTo>
                    <a:lnTo>
                      <a:pt x="48" y="164"/>
                    </a:lnTo>
                    <a:lnTo>
                      <a:pt x="44" y="166"/>
                    </a:lnTo>
                    <a:lnTo>
                      <a:pt x="20" y="176"/>
                    </a:lnTo>
                    <a:lnTo>
                      <a:pt x="0" y="196"/>
                    </a:lnTo>
                    <a:lnTo>
                      <a:pt x="10" y="200"/>
                    </a:lnTo>
                    <a:lnTo>
                      <a:pt x="28" y="190"/>
                    </a:lnTo>
                    <a:lnTo>
                      <a:pt x="36" y="188"/>
                    </a:lnTo>
                    <a:lnTo>
                      <a:pt x="58" y="188"/>
                    </a:lnTo>
                    <a:lnTo>
                      <a:pt x="84" y="182"/>
                    </a:lnTo>
                    <a:lnTo>
                      <a:pt x="108" y="174"/>
                    </a:lnTo>
                    <a:lnTo>
                      <a:pt x="96" y="164"/>
                    </a:lnTo>
                    <a:lnTo>
                      <a:pt x="98" y="164"/>
                    </a:lnTo>
                    <a:lnTo>
                      <a:pt x="100" y="162"/>
                    </a:lnTo>
                    <a:lnTo>
                      <a:pt x="102" y="158"/>
                    </a:lnTo>
                    <a:lnTo>
                      <a:pt x="102" y="154"/>
                    </a:lnTo>
                    <a:lnTo>
                      <a:pt x="102" y="150"/>
                    </a:lnTo>
                    <a:lnTo>
                      <a:pt x="102" y="148"/>
                    </a:lnTo>
                    <a:lnTo>
                      <a:pt x="100" y="146"/>
                    </a:lnTo>
                    <a:lnTo>
                      <a:pt x="98" y="142"/>
                    </a:lnTo>
                    <a:lnTo>
                      <a:pt x="94" y="140"/>
                    </a:lnTo>
                    <a:lnTo>
                      <a:pt x="90" y="138"/>
                    </a:lnTo>
                    <a:lnTo>
                      <a:pt x="88" y="136"/>
                    </a:lnTo>
                    <a:lnTo>
                      <a:pt x="86" y="132"/>
                    </a:lnTo>
                    <a:lnTo>
                      <a:pt x="84" y="120"/>
                    </a:lnTo>
                    <a:lnTo>
                      <a:pt x="78" y="108"/>
                    </a:lnTo>
                    <a:lnTo>
                      <a:pt x="66" y="100"/>
                    </a:lnTo>
                    <a:lnTo>
                      <a:pt x="66" y="94"/>
                    </a:lnTo>
                    <a:lnTo>
                      <a:pt x="64" y="84"/>
                    </a:lnTo>
                    <a:lnTo>
                      <a:pt x="60" y="72"/>
                    </a:lnTo>
                    <a:lnTo>
                      <a:pt x="56" y="68"/>
                    </a:lnTo>
                    <a:lnTo>
                      <a:pt x="48" y="62"/>
                    </a:lnTo>
                    <a:lnTo>
                      <a:pt x="56" y="44"/>
                    </a:lnTo>
                    <a:lnTo>
                      <a:pt x="56" y="42"/>
                    </a:lnTo>
                    <a:lnTo>
                      <a:pt x="54" y="38"/>
                    </a:lnTo>
                    <a:lnTo>
                      <a:pt x="52" y="36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6" y="32"/>
                    </a:lnTo>
                    <a:lnTo>
                      <a:pt x="44" y="32"/>
                    </a:lnTo>
                    <a:lnTo>
                      <a:pt x="44" y="30"/>
                    </a:lnTo>
                    <a:lnTo>
                      <a:pt x="36" y="28"/>
                    </a:lnTo>
                    <a:lnTo>
                      <a:pt x="34" y="28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20"/>
                    </a:lnTo>
                    <a:lnTo>
                      <a:pt x="36" y="16"/>
                    </a:lnTo>
                    <a:lnTo>
                      <a:pt x="38" y="14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2" y="6"/>
                    </a:lnTo>
                    <a:lnTo>
                      <a:pt x="40" y="4"/>
                    </a:lnTo>
                    <a:lnTo>
                      <a:pt x="40" y="2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2" name="Freeform 650"/>
              <p:cNvSpPr>
                <a:spLocks/>
              </p:cNvSpPr>
              <p:nvPr/>
            </p:nvSpPr>
            <p:spPr bwMode="auto">
              <a:xfrm>
                <a:off x="3977143" y="4200033"/>
                <a:ext cx="232809" cy="180211"/>
              </a:xfrm>
              <a:custGeom>
                <a:avLst/>
                <a:gdLst>
                  <a:gd name="T0" fmla="*/ 17 w 22"/>
                  <a:gd name="T1" fmla="*/ 1 h 15"/>
                  <a:gd name="T2" fmla="*/ 9 w 22"/>
                  <a:gd name="T3" fmla="*/ 1 h 15"/>
                  <a:gd name="T4" fmla="*/ 8 w 22"/>
                  <a:gd name="T5" fmla="*/ 2 h 15"/>
                  <a:gd name="T6" fmla="*/ 5 w 22"/>
                  <a:gd name="T7" fmla="*/ 2 h 15"/>
                  <a:gd name="T8" fmla="*/ 3 w 22"/>
                  <a:gd name="T9" fmla="*/ 5 h 15"/>
                  <a:gd name="T10" fmla="*/ 1 w 22"/>
                  <a:gd name="T11" fmla="*/ 9 h 15"/>
                  <a:gd name="T12" fmla="*/ 4 w 22"/>
                  <a:gd name="T13" fmla="*/ 10 h 15"/>
                  <a:gd name="T14" fmla="*/ 7 w 22"/>
                  <a:gd name="T15" fmla="*/ 11 h 15"/>
                  <a:gd name="T16" fmla="*/ 11 w 22"/>
                  <a:gd name="T17" fmla="*/ 10 h 15"/>
                  <a:gd name="T18" fmla="*/ 13 w 22"/>
                  <a:gd name="T19" fmla="*/ 10 h 15"/>
                  <a:gd name="T20" fmla="*/ 16 w 22"/>
                  <a:gd name="T21" fmla="*/ 8 h 15"/>
                  <a:gd name="T22" fmla="*/ 18 w 22"/>
                  <a:gd name="T23" fmla="*/ 9 h 15"/>
                  <a:gd name="T24" fmla="*/ 21 w 22"/>
                  <a:gd name="T25" fmla="*/ 8 h 15"/>
                  <a:gd name="T26" fmla="*/ 22 w 22"/>
                  <a:gd name="T27" fmla="*/ 5 h 15"/>
                  <a:gd name="T28" fmla="*/ 18 w 22"/>
                  <a:gd name="T29" fmla="*/ 4 h 15"/>
                  <a:gd name="T30" fmla="*/ 17 w 22"/>
                  <a:gd name="T31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15">
                    <a:moveTo>
                      <a:pt x="17" y="1"/>
                    </a:moveTo>
                    <a:cubicBezTo>
                      <a:pt x="14" y="0"/>
                      <a:pt x="12" y="1"/>
                      <a:pt x="9" y="1"/>
                    </a:cubicBezTo>
                    <a:cubicBezTo>
                      <a:pt x="7" y="1"/>
                      <a:pt x="9" y="1"/>
                      <a:pt x="8" y="2"/>
                    </a:cubicBezTo>
                    <a:cubicBezTo>
                      <a:pt x="7" y="2"/>
                      <a:pt x="5" y="2"/>
                      <a:pt x="5" y="2"/>
                    </a:cubicBezTo>
                    <a:cubicBezTo>
                      <a:pt x="4" y="2"/>
                      <a:pt x="3" y="5"/>
                      <a:pt x="3" y="5"/>
                    </a:cubicBezTo>
                    <a:cubicBezTo>
                      <a:pt x="2" y="6"/>
                      <a:pt x="0" y="10"/>
                      <a:pt x="1" y="9"/>
                    </a:cubicBezTo>
                    <a:cubicBezTo>
                      <a:pt x="3" y="9"/>
                      <a:pt x="3" y="8"/>
                      <a:pt x="4" y="10"/>
                    </a:cubicBezTo>
                    <a:cubicBezTo>
                      <a:pt x="4" y="12"/>
                      <a:pt x="5" y="11"/>
                      <a:pt x="7" y="11"/>
                    </a:cubicBezTo>
                    <a:cubicBezTo>
                      <a:pt x="8" y="11"/>
                      <a:pt x="10" y="11"/>
                      <a:pt x="11" y="10"/>
                    </a:cubicBezTo>
                    <a:cubicBezTo>
                      <a:pt x="12" y="8"/>
                      <a:pt x="13" y="9"/>
                      <a:pt x="13" y="10"/>
                    </a:cubicBezTo>
                    <a:cubicBezTo>
                      <a:pt x="16" y="15"/>
                      <a:pt x="15" y="8"/>
                      <a:pt x="16" y="8"/>
                    </a:cubicBezTo>
                    <a:cubicBezTo>
                      <a:pt x="17" y="8"/>
                      <a:pt x="17" y="9"/>
                      <a:pt x="18" y="9"/>
                    </a:cubicBezTo>
                    <a:cubicBezTo>
                      <a:pt x="19" y="9"/>
                      <a:pt x="20" y="9"/>
                      <a:pt x="21" y="8"/>
                    </a:cubicBezTo>
                    <a:cubicBezTo>
                      <a:pt x="22" y="7"/>
                      <a:pt x="22" y="7"/>
                      <a:pt x="22" y="5"/>
                    </a:cubicBezTo>
                    <a:cubicBezTo>
                      <a:pt x="22" y="5"/>
                      <a:pt x="19" y="4"/>
                      <a:pt x="18" y="4"/>
                    </a:cubicBezTo>
                    <a:cubicBezTo>
                      <a:pt x="17" y="3"/>
                      <a:pt x="17" y="2"/>
                      <a:pt x="17" y="1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2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3" name="Freeform 651"/>
              <p:cNvSpPr>
                <a:spLocks/>
              </p:cNvSpPr>
              <p:nvPr/>
            </p:nvSpPr>
            <p:spPr bwMode="auto">
              <a:xfrm>
                <a:off x="3657271" y="3964226"/>
                <a:ext cx="242986" cy="151407"/>
              </a:xfrm>
              <a:custGeom>
                <a:avLst/>
                <a:gdLst>
                  <a:gd name="T0" fmla="*/ 19 w 21"/>
                  <a:gd name="T1" fmla="*/ 9 h 13"/>
                  <a:gd name="T2" fmla="*/ 20 w 21"/>
                  <a:gd name="T3" fmla="*/ 6 h 13"/>
                  <a:gd name="T4" fmla="*/ 18 w 21"/>
                  <a:gd name="T5" fmla="*/ 3 h 13"/>
                  <a:gd name="T6" fmla="*/ 13 w 21"/>
                  <a:gd name="T7" fmla="*/ 0 h 13"/>
                  <a:gd name="T8" fmla="*/ 8 w 21"/>
                  <a:gd name="T9" fmla="*/ 1 h 13"/>
                  <a:gd name="T10" fmla="*/ 3 w 21"/>
                  <a:gd name="T11" fmla="*/ 1 h 13"/>
                  <a:gd name="T12" fmla="*/ 5 w 21"/>
                  <a:gd name="T13" fmla="*/ 6 h 13"/>
                  <a:gd name="T14" fmla="*/ 10 w 21"/>
                  <a:gd name="T15" fmla="*/ 9 h 13"/>
                  <a:gd name="T16" fmla="*/ 12 w 21"/>
                  <a:gd name="T17" fmla="*/ 9 h 13"/>
                  <a:gd name="T18" fmla="*/ 18 w 21"/>
                  <a:gd name="T19" fmla="*/ 13 h 13"/>
                  <a:gd name="T20" fmla="*/ 19 w 21"/>
                  <a:gd name="T21" fmla="*/ 9 h 13"/>
                  <a:gd name="T22" fmla="*/ 19 w 21"/>
                  <a:gd name="T2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13">
                    <a:moveTo>
                      <a:pt x="19" y="9"/>
                    </a:moveTo>
                    <a:cubicBezTo>
                      <a:pt x="18" y="9"/>
                      <a:pt x="21" y="7"/>
                      <a:pt x="20" y="6"/>
                    </a:cubicBezTo>
                    <a:cubicBezTo>
                      <a:pt x="20" y="5"/>
                      <a:pt x="19" y="3"/>
                      <a:pt x="18" y="3"/>
                    </a:cubicBezTo>
                    <a:cubicBezTo>
                      <a:pt x="17" y="2"/>
                      <a:pt x="15" y="0"/>
                      <a:pt x="13" y="0"/>
                    </a:cubicBezTo>
                    <a:cubicBezTo>
                      <a:pt x="11" y="0"/>
                      <a:pt x="10" y="1"/>
                      <a:pt x="8" y="1"/>
                    </a:cubicBezTo>
                    <a:cubicBezTo>
                      <a:pt x="6" y="1"/>
                      <a:pt x="5" y="0"/>
                      <a:pt x="3" y="1"/>
                    </a:cubicBezTo>
                    <a:cubicBezTo>
                      <a:pt x="0" y="3"/>
                      <a:pt x="3" y="5"/>
                      <a:pt x="5" y="6"/>
                    </a:cubicBezTo>
                    <a:cubicBezTo>
                      <a:pt x="7" y="7"/>
                      <a:pt x="8" y="7"/>
                      <a:pt x="10" y="9"/>
                    </a:cubicBezTo>
                    <a:cubicBezTo>
                      <a:pt x="10" y="10"/>
                      <a:pt x="12" y="10"/>
                      <a:pt x="12" y="9"/>
                    </a:cubicBezTo>
                    <a:cubicBezTo>
                      <a:pt x="12" y="10"/>
                      <a:pt x="17" y="13"/>
                      <a:pt x="18" y="13"/>
                    </a:cubicBezTo>
                    <a:cubicBezTo>
                      <a:pt x="18" y="11"/>
                      <a:pt x="18" y="10"/>
                      <a:pt x="19" y="9"/>
                    </a:cubicBezTo>
                    <a:cubicBezTo>
                      <a:pt x="19" y="9"/>
                      <a:pt x="17" y="10"/>
                      <a:pt x="19" y="9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2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1348257" y="2177761"/>
                <a:ext cx="2301108" cy="4089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China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  10.8%</a:t>
                </a: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466890" y="3264136"/>
                <a:ext cx="1360861" cy="4089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India</a:t>
                </a:r>
                <a:r>
                  <a:rPr kumimoji="0" lang="ar-AE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 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8.9%</a:t>
                </a: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823983" y="5645937"/>
                <a:ext cx="1160195" cy="4089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USA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 5.7%</a:t>
                </a: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2048691" y="6354870"/>
                <a:ext cx="1827367" cy="4089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Switzerland 3.8%</a:t>
                </a: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4676555" y="5169979"/>
                <a:ext cx="1263814" cy="4089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Japan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 3.2%</a:t>
                </a: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3692797" y="3203938"/>
                <a:ext cx="1376524" cy="4089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Kuwait</a:t>
                </a:r>
                <a:r>
                  <a:rPr kumimoji="0" lang="ar-AE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 </a:t>
                </a: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2.3%</a:t>
                </a:r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4329308" y="3781535"/>
                <a:ext cx="1592857" cy="4089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Germany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 2.6%</a:t>
                </a:r>
              </a:p>
            </p:txBody>
          </p:sp>
          <p:sp>
            <p:nvSpPr>
              <p:cNvPr id="111" name="Freeform 276"/>
              <p:cNvSpPr>
                <a:spLocks/>
              </p:cNvSpPr>
              <p:nvPr/>
            </p:nvSpPr>
            <p:spPr bwMode="auto">
              <a:xfrm>
                <a:off x="3883053" y="3974067"/>
                <a:ext cx="513420" cy="532673"/>
              </a:xfrm>
              <a:custGeom>
                <a:avLst/>
                <a:gdLst>
                  <a:gd name="T0" fmla="*/ 15 w 101"/>
                  <a:gd name="T1" fmla="*/ 35 h 105"/>
                  <a:gd name="T2" fmla="*/ 0 w 101"/>
                  <a:gd name="T3" fmla="*/ 49 h 105"/>
                  <a:gd name="T4" fmla="*/ 37 w 101"/>
                  <a:gd name="T5" fmla="*/ 105 h 105"/>
                  <a:gd name="T6" fmla="*/ 77 w 101"/>
                  <a:gd name="T7" fmla="*/ 93 h 105"/>
                  <a:gd name="T8" fmla="*/ 101 w 101"/>
                  <a:gd name="T9" fmla="*/ 85 h 105"/>
                  <a:gd name="T10" fmla="*/ 101 w 101"/>
                  <a:gd name="T11" fmla="*/ 85 h 105"/>
                  <a:gd name="T12" fmla="*/ 94 w 101"/>
                  <a:gd name="T13" fmla="*/ 64 h 105"/>
                  <a:gd name="T14" fmla="*/ 84 w 101"/>
                  <a:gd name="T15" fmla="*/ 66 h 105"/>
                  <a:gd name="T16" fmla="*/ 57 w 101"/>
                  <a:gd name="T17" fmla="*/ 39 h 105"/>
                  <a:gd name="T18" fmla="*/ 67 w 101"/>
                  <a:gd name="T19" fmla="*/ 17 h 105"/>
                  <a:gd name="T20" fmla="*/ 54 w 101"/>
                  <a:gd name="T21" fmla="*/ 0 h 105"/>
                  <a:gd name="T22" fmla="*/ 44 w 101"/>
                  <a:gd name="T23" fmla="*/ 9 h 105"/>
                  <a:gd name="T24" fmla="*/ 44 w 101"/>
                  <a:gd name="T25" fmla="*/ 10 h 105"/>
                  <a:gd name="T26" fmla="*/ 15 w 101"/>
                  <a:gd name="T27" fmla="*/ 3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" h="105">
                    <a:moveTo>
                      <a:pt x="15" y="35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17" y="64"/>
                      <a:pt x="29" y="83"/>
                      <a:pt x="37" y="105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101" y="85"/>
                      <a:pt x="101" y="85"/>
                      <a:pt x="101" y="85"/>
                    </a:cubicBezTo>
                    <a:cubicBezTo>
                      <a:pt x="101" y="85"/>
                      <a:pt x="101" y="85"/>
                      <a:pt x="101" y="85"/>
                    </a:cubicBezTo>
                    <a:cubicBezTo>
                      <a:pt x="99" y="78"/>
                      <a:pt x="97" y="71"/>
                      <a:pt x="94" y="64"/>
                    </a:cubicBezTo>
                    <a:cubicBezTo>
                      <a:pt x="91" y="66"/>
                      <a:pt x="88" y="66"/>
                      <a:pt x="84" y="66"/>
                    </a:cubicBezTo>
                    <a:cubicBezTo>
                      <a:pt x="69" y="66"/>
                      <a:pt x="57" y="54"/>
                      <a:pt x="57" y="39"/>
                    </a:cubicBezTo>
                    <a:cubicBezTo>
                      <a:pt x="57" y="30"/>
                      <a:pt x="61" y="22"/>
                      <a:pt x="67" y="17"/>
                    </a:cubicBezTo>
                    <a:cubicBezTo>
                      <a:pt x="63" y="11"/>
                      <a:pt x="58" y="5"/>
                      <a:pt x="54" y="0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44" y="9"/>
                      <a:pt x="44" y="9"/>
                      <a:pt x="44" y="10"/>
                    </a:cubicBezTo>
                    <a:lnTo>
                      <a:pt x="15" y="35"/>
                    </a:lnTo>
                    <a:close/>
                  </a:path>
                </a:pathLst>
              </a:custGeom>
              <a:solidFill>
                <a:srgbClr val="656D78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3568583" y="3723775"/>
                <a:ext cx="539091" cy="494167"/>
              </a:xfrm>
              <a:custGeom>
                <a:avLst/>
                <a:gdLst>
                  <a:gd name="T0" fmla="*/ 77 w 106"/>
                  <a:gd name="T1" fmla="*/ 84 h 97"/>
                  <a:gd name="T2" fmla="*/ 106 w 106"/>
                  <a:gd name="T3" fmla="*/ 59 h 97"/>
                  <a:gd name="T4" fmla="*/ 106 w 106"/>
                  <a:gd name="T5" fmla="*/ 58 h 97"/>
                  <a:gd name="T6" fmla="*/ 90 w 106"/>
                  <a:gd name="T7" fmla="*/ 41 h 97"/>
                  <a:gd name="T8" fmla="*/ 69 w 106"/>
                  <a:gd name="T9" fmla="*/ 50 h 97"/>
                  <a:gd name="T10" fmla="*/ 41 w 106"/>
                  <a:gd name="T11" fmla="*/ 23 h 97"/>
                  <a:gd name="T12" fmla="*/ 45 w 106"/>
                  <a:gd name="T13" fmla="*/ 9 h 97"/>
                  <a:gd name="T14" fmla="*/ 27 w 106"/>
                  <a:gd name="T15" fmla="*/ 0 h 97"/>
                  <a:gd name="T16" fmla="*/ 0 w 106"/>
                  <a:gd name="T17" fmla="*/ 64 h 97"/>
                  <a:gd name="T18" fmla="*/ 62 w 106"/>
                  <a:gd name="T19" fmla="*/ 97 h 97"/>
                  <a:gd name="T20" fmla="*/ 77 w 106"/>
                  <a:gd name="T21" fmla="*/ 8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97">
                    <a:moveTo>
                      <a:pt x="77" y="84"/>
                    </a:moveTo>
                    <a:cubicBezTo>
                      <a:pt x="106" y="59"/>
                      <a:pt x="106" y="59"/>
                      <a:pt x="106" y="59"/>
                    </a:cubicBezTo>
                    <a:cubicBezTo>
                      <a:pt x="106" y="58"/>
                      <a:pt x="106" y="58"/>
                      <a:pt x="106" y="58"/>
                    </a:cubicBezTo>
                    <a:cubicBezTo>
                      <a:pt x="101" y="52"/>
                      <a:pt x="95" y="46"/>
                      <a:pt x="90" y="41"/>
                    </a:cubicBezTo>
                    <a:cubicBezTo>
                      <a:pt x="85" y="47"/>
                      <a:pt x="77" y="50"/>
                      <a:pt x="69" y="50"/>
                    </a:cubicBezTo>
                    <a:cubicBezTo>
                      <a:pt x="54" y="50"/>
                      <a:pt x="41" y="38"/>
                      <a:pt x="41" y="23"/>
                    </a:cubicBezTo>
                    <a:cubicBezTo>
                      <a:pt x="41" y="18"/>
                      <a:pt x="43" y="13"/>
                      <a:pt x="45" y="9"/>
                    </a:cubicBezTo>
                    <a:cubicBezTo>
                      <a:pt x="39" y="6"/>
                      <a:pt x="33" y="3"/>
                      <a:pt x="27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24" y="70"/>
                      <a:pt x="45" y="82"/>
                      <a:pt x="62" y="97"/>
                    </a:cubicBezTo>
                    <a:lnTo>
                      <a:pt x="77" y="84"/>
                    </a:lnTo>
                    <a:close/>
                  </a:path>
                </a:pathLst>
              </a:custGeom>
              <a:solidFill>
                <a:srgbClr val="E84C22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4710942" y="4468395"/>
                <a:ext cx="1296536" cy="40891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Oman 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2.8%</a:t>
                </a:r>
              </a:p>
            </p:txBody>
          </p:sp>
          <p:sp>
            <p:nvSpPr>
              <p:cNvPr id="114" name="Freeform 250"/>
              <p:cNvSpPr>
                <a:spLocks/>
              </p:cNvSpPr>
              <p:nvPr/>
            </p:nvSpPr>
            <p:spPr bwMode="gray">
              <a:xfrm>
                <a:off x="1719578" y="4564815"/>
                <a:ext cx="455163" cy="343702"/>
              </a:xfrm>
              <a:custGeom>
                <a:avLst/>
                <a:gdLst>
                  <a:gd name="T0" fmla="*/ 34 w 270"/>
                  <a:gd name="T1" fmla="*/ 8 h 232"/>
                  <a:gd name="T2" fmla="*/ 42 w 270"/>
                  <a:gd name="T3" fmla="*/ 24 h 232"/>
                  <a:gd name="T4" fmla="*/ 36 w 270"/>
                  <a:gd name="T5" fmla="*/ 30 h 232"/>
                  <a:gd name="T6" fmla="*/ 30 w 270"/>
                  <a:gd name="T7" fmla="*/ 36 h 232"/>
                  <a:gd name="T8" fmla="*/ 26 w 270"/>
                  <a:gd name="T9" fmla="*/ 40 h 232"/>
                  <a:gd name="T10" fmla="*/ 0 w 270"/>
                  <a:gd name="T11" fmla="*/ 40 h 232"/>
                  <a:gd name="T12" fmla="*/ 6 w 270"/>
                  <a:gd name="T13" fmla="*/ 56 h 232"/>
                  <a:gd name="T14" fmla="*/ 8 w 270"/>
                  <a:gd name="T15" fmla="*/ 60 h 232"/>
                  <a:gd name="T16" fmla="*/ 12 w 270"/>
                  <a:gd name="T17" fmla="*/ 68 h 232"/>
                  <a:gd name="T18" fmla="*/ 18 w 270"/>
                  <a:gd name="T19" fmla="*/ 78 h 232"/>
                  <a:gd name="T20" fmla="*/ 26 w 270"/>
                  <a:gd name="T21" fmla="*/ 90 h 232"/>
                  <a:gd name="T22" fmla="*/ 38 w 270"/>
                  <a:gd name="T23" fmla="*/ 110 h 232"/>
                  <a:gd name="T24" fmla="*/ 42 w 270"/>
                  <a:gd name="T25" fmla="*/ 118 h 232"/>
                  <a:gd name="T26" fmla="*/ 52 w 270"/>
                  <a:gd name="T27" fmla="*/ 140 h 232"/>
                  <a:gd name="T28" fmla="*/ 68 w 270"/>
                  <a:gd name="T29" fmla="*/ 170 h 232"/>
                  <a:gd name="T30" fmla="*/ 80 w 270"/>
                  <a:gd name="T31" fmla="*/ 188 h 232"/>
                  <a:gd name="T32" fmla="*/ 92 w 270"/>
                  <a:gd name="T33" fmla="*/ 212 h 232"/>
                  <a:gd name="T34" fmla="*/ 96 w 270"/>
                  <a:gd name="T35" fmla="*/ 212 h 232"/>
                  <a:gd name="T36" fmla="*/ 100 w 270"/>
                  <a:gd name="T37" fmla="*/ 210 h 232"/>
                  <a:gd name="T38" fmla="*/ 104 w 270"/>
                  <a:gd name="T39" fmla="*/ 206 h 232"/>
                  <a:gd name="T40" fmla="*/ 104 w 270"/>
                  <a:gd name="T41" fmla="*/ 202 h 232"/>
                  <a:gd name="T42" fmla="*/ 106 w 270"/>
                  <a:gd name="T43" fmla="*/ 204 h 232"/>
                  <a:gd name="T44" fmla="*/ 110 w 270"/>
                  <a:gd name="T45" fmla="*/ 204 h 232"/>
                  <a:gd name="T46" fmla="*/ 136 w 270"/>
                  <a:gd name="T47" fmla="*/ 232 h 232"/>
                  <a:gd name="T48" fmla="*/ 140 w 270"/>
                  <a:gd name="T49" fmla="*/ 228 h 232"/>
                  <a:gd name="T50" fmla="*/ 146 w 270"/>
                  <a:gd name="T51" fmla="*/ 220 h 232"/>
                  <a:gd name="T52" fmla="*/ 152 w 270"/>
                  <a:gd name="T53" fmla="*/ 212 h 232"/>
                  <a:gd name="T54" fmla="*/ 158 w 270"/>
                  <a:gd name="T55" fmla="*/ 204 h 232"/>
                  <a:gd name="T56" fmla="*/ 166 w 270"/>
                  <a:gd name="T57" fmla="*/ 200 h 232"/>
                  <a:gd name="T58" fmla="*/ 194 w 270"/>
                  <a:gd name="T59" fmla="*/ 188 h 232"/>
                  <a:gd name="T60" fmla="*/ 220 w 270"/>
                  <a:gd name="T61" fmla="*/ 184 h 232"/>
                  <a:gd name="T62" fmla="*/ 224 w 270"/>
                  <a:gd name="T63" fmla="*/ 182 h 232"/>
                  <a:gd name="T64" fmla="*/ 248 w 270"/>
                  <a:gd name="T65" fmla="*/ 170 h 232"/>
                  <a:gd name="T66" fmla="*/ 268 w 270"/>
                  <a:gd name="T67" fmla="*/ 148 h 232"/>
                  <a:gd name="T68" fmla="*/ 268 w 270"/>
                  <a:gd name="T69" fmla="*/ 132 h 232"/>
                  <a:gd name="T70" fmla="*/ 268 w 270"/>
                  <a:gd name="T71" fmla="*/ 126 h 232"/>
                  <a:gd name="T72" fmla="*/ 270 w 270"/>
                  <a:gd name="T73" fmla="*/ 122 h 232"/>
                  <a:gd name="T74" fmla="*/ 234 w 270"/>
                  <a:gd name="T75" fmla="*/ 124 h 232"/>
                  <a:gd name="T76" fmla="*/ 232 w 270"/>
                  <a:gd name="T77" fmla="*/ 122 h 232"/>
                  <a:gd name="T78" fmla="*/ 228 w 270"/>
                  <a:gd name="T79" fmla="*/ 120 h 232"/>
                  <a:gd name="T80" fmla="*/ 228 w 270"/>
                  <a:gd name="T81" fmla="*/ 116 h 232"/>
                  <a:gd name="T82" fmla="*/ 220 w 270"/>
                  <a:gd name="T83" fmla="*/ 108 h 232"/>
                  <a:gd name="T84" fmla="*/ 216 w 270"/>
                  <a:gd name="T85" fmla="*/ 110 h 232"/>
                  <a:gd name="T86" fmla="*/ 210 w 270"/>
                  <a:gd name="T87" fmla="*/ 110 h 232"/>
                  <a:gd name="T88" fmla="*/ 206 w 270"/>
                  <a:gd name="T89" fmla="*/ 106 h 232"/>
                  <a:gd name="T90" fmla="*/ 202 w 270"/>
                  <a:gd name="T91" fmla="*/ 98 h 232"/>
                  <a:gd name="T92" fmla="*/ 196 w 270"/>
                  <a:gd name="T93" fmla="*/ 88 h 232"/>
                  <a:gd name="T94" fmla="*/ 192 w 270"/>
                  <a:gd name="T95" fmla="*/ 80 h 232"/>
                  <a:gd name="T96" fmla="*/ 172 w 270"/>
                  <a:gd name="T97" fmla="*/ 54 h 232"/>
                  <a:gd name="T98" fmla="*/ 154 w 270"/>
                  <a:gd name="T99" fmla="*/ 52 h 232"/>
                  <a:gd name="T100" fmla="*/ 150 w 270"/>
                  <a:gd name="T101" fmla="*/ 48 h 232"/>
                  <a:gd name="T102" fmla="*/ 144 w 270"/>
                  <a:gd name="T103" fmla="*/ 46 h 232"/>
                  <a:gd name="T104" fmla="*/ 138 w 270"/>
                  <a:gd name="T105" fmla="*/ 40 h 232"/>
                  <a:gd name="T106" fmla="*/ 130 w 270"/>
                  <a:gd name="T107" fmla="*/ 34 h 232"/>
                  <a:gd name="T108" fmla="*/ 120 w 270"/>
                  <a:gd name="T109" fmla="*/ 28 h 232"/>
                  <a:gd name="T110" fmla="*/ 102 w 270"/>
                  <a:gd name="T111" fmla="*/ 16 h 232"/>
                  <a:gd name="T112" fmla="*/ 68 w 270"/>
                  <a:gd name="T113" fmla="*/ 4 h 232"/>
                  <a:gd name="T114" fmla="*/ 62 w 270"/>
                  <a:gd name="T115" fmla="*/ 0 h 232"/>
                  <a:gd name="T116" fmla="*/ 58 w 270"/>
                  <a:gd name="T117" fmla="*/ 2 h 232"/>
                  <a:gd name="T118" fmla="*/ 54 w 270"/>
                  <a:gd name="T119" fmla="*/ 4 h 23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70"/>
                  <a:gd name="T181" fmla="*/ 0 h 232"/>
                  <a:gd name="T182" fmla="*/ 270 w 270"/>
                  <a:gd name="T183" fmla="*/ 232 h 23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70" h="232">
                    <a:moveTo>
                      <a:pt x="54" y="4"/>
                    </a:moveTo>
                    <a:lnTo>
                      <a:pt x="34" y="8"/>
                    </a:lnTo>
                    <a:lnTo>
                      <a:pt x="42" y="22"/>
                    </a:lnTo>
                    <a:lnTo>
                      <a:pt x="42" y="24"/>
                    </a:lnTo>
                    <a:lnTo>
                      <a:pt x="40" y="26"/>
                    </a:lnTo>
                    <a:lnTo>
                      <a:pt x="36" y="30"/>
                    </a:lnTo>
                    <a:lnTo>
                      <a:pt x="34" y="34"/>
                    </a:lnTo>
                    <a:lnTo>
                      <a:pt x="30" y="36"/>
                    </a:lnTo>
                    <a:lnTo>
                      <a:pt x="28" y="38"/>
                    </a:lnTo>
                    <a:lnTo>
                      <a:pt x="26" y="40"/>
                    </a:lnTo>
                    <a:lnTo>
                      <a:pt x="24" y="42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6" y="56"/>
                    </a:lnTo>
                    <a:lnTo>
                      <a:pt x="6" y="58"/>
                    </a:lnTo>
                    <a:lnTo>
                      <a:pt x="8" y="60"/>
                    </a:lnTo>
                    <a:lnTo>
                      <a:pt x="10" y="64"/>
                    </a:lnTo>
                    <a:lnTo>
                      <a:pt x="12" y="68"/>
                    </a:lnTo>
                    <a:lnTo>
                      <a:pt x="16" y="74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6" y="90"/>
                    </a:lnTo>
                    <a:lnTo>
                      <a:pt x="34" y="100"/>
                    </a:lnTo>
                    <a:lnTo>
                      <a:pt x="38" y="110"/>
                    </a:lnTo>
                    <a:lnTo>
                      <a:pt x="42" y="114"/>
                    </a:lnTo>
                    <a:lnTo>
                      <a:pt x="42" y="118"/>
                    </a:lnTo>
                    <a:lnTo>
                      <a:pt x="46" y="128"/>
                    </a:lnTo>
                    <a:lnTo>
                      <a:pt x="52" y="140"/>
                    </a:lnTo>
                    <a:lnTo>
                      <a:pt x="58" y="152"/>
                    </a:lnTo>
                    <a:lnTo>
                      <a:pt x="68" y="170"/>
                    </a:lnTo>
                    <a:lnTo>
                      <a:pt x="72" y="176"/>
                    </a:lnTo>
                    <a:lnTo>
                      <a:pt x="80" y="188"/>
                    </a:lnTo>
                    <a:lnTo>
                      <a:pt x="86" y="202"/>
                    </a:lnTo>
                    <a:lnTo>
                      <a:pt x="92" y="212"/>
                    </a:lnTo>
                    <a:lnTo>
                      <a:pt x="94" y="216"/>
                    </a:lnTo>
                    <a:lnTo>
                      <a:pt x="96" y="212"/>
                    </a:lnTo>
                    <a:lnTo>
                      <a:pt x="98" y="212"/>
                    </a:lnTo>
                    <a:lnTo>
                      <a:pt x="100" y="210"/>
                    </a:lnTo>
                    <a:lnTo>
                      <a:pt x="102" y="210"/>
                    </a:lnTo>
                    <a:lnTo>
                      <a:pt x="104" y="206"/>
                    </a:lnTo>
                    <a:lnTo>
                      <a:pt x="104" y="202"/>
                    </a:lnTo>
                    <a:lnTo>
                      <a:pt x="106" y="204"/>
                    </a:lnTo>
                    <a:lnTo>
                      <a:pt x="108" y="204"/>
                    </a:lnTo>
                    <a:lnTo>
                      <a:pt x="110" y="204"/>
                    </a:lnTo>
                    <a:lnTo>
                      <a:pt x="114" y="204"/>
                    </a:lnTo>
                    <a:lnTo>
                      <a:pt x="136" y="232"/>
                    </a:lnTo>
                    <a:lnTo>
                      <a:pt x="140" y="228"/>
                    </a:lnTo>
                    <a:lnTo>
                      <a:pt x="142" y="224"/>
                    </a:lnTo>
                    <a:lnTo>
                      <a:pt x="146" y="220"/>
                    </a:lnTo>
                    <a:lnTo>
                      <a:pt x="148" y="216"/>
                    </a:lnTo>
                    <a:lnTo>
                      <a:pt x="152" y="212"/>
                    </a:lnTo>
                    <a:lnTo>
                      <a:pt x="156" y="206"/>
                    </a:lnTo>
                    <a:lnTo>
                      <a:pt x="158" y="204"/>
                    </a:lnTo>
                    <a:lnTo>
                      <a:pt x="160" y="202"/>
                    </a:lnTo>
                    <a:lnTo>
                      <a:pt x="166" y="200"/>
                    </a:lnTo>
                    <a:lnTo>
                      <a:pt x="178" y="194"/>
                    </a:lnTo>
                    <a:lnTo>
                      <a:pt x="194" y="188"/>
                    </a:lnTo>
                    <a:lnTo>
                      <a:pt x="208" y="184"/>
                    </a:lnTo>
                    <a:lnTo>
                      <a:pt x="220" y="184"/>
                    </a:lnTo>
                    <a:lnTo>
                      <a:pt x="220" y="182"/>
                    </a:lnTo>
                    <a:lnTo>
                      <a:pt x="224" y="182"/>
                    </a:lnTo>
                    <a:lnTo>
                      <a:pt x="236" y="178"/>
                    </a:lnTo>
                    <a:lnTo>
                      <a:pt x="248" y="170"/>
                    </a:lnTo>
                    <a:lnTo>
                      <a:pt x="260" y="160"/>
                    </a:lnTo>
                    <a:lnTo>
                      <a:pt x="268" y="148"/>
                    </a:lnTo>
                    <a:lnTo>
                      <a:pt x="270" y="132"/>
                    </a:lnTo>
                    <a:lnTo>
                      <a:pt x="268" y="132"/>
                    </a:lnTo>
                    <a:lnTo>
                      <a:pt x="268" y="130"/>
                    </a:lnTo>
                    <a:lnTo>
                      <a:pt x="268" y="126"/>
                    </a:lnTo>
                    <a:lnTo>
                      <a:pt x="268" y="124"/>
                    </a:lnTo>
                    <a:lnTo>
                      <a:pt x="270" y="122"/>
                    </a:lnTo>
                    <a:lnTo>
                      <a:pt x="254" y="124"/>
                    </a:lnTo>
                    <a:lnTo>
                      <a:pt x="234" y="124"/>
                    </a:lnTo>
                    <a:lnTo>
                      <a:pt x="232" y="122"/>
                    </a:lnTo>
                    <a:lnTo>
                      <a:pt x="230" y="122"/>
                    </a:lnTo>
                    <a:lnTo>
                      <a:pt x="228" y="120"/>
                    </a:lnTo>
                    <a:lnTo>
                      <a:pt x="228" y="118"/>
                    </a:lnTo>
                    <a:lnTo>
                      <a:pt x="228" y="116"/>
                    </a:lnTo>
                    <a:lnTo>
                      <a:pt x="230" y="110"/>
                    </a:lnTo>
                    <a:lnTo>
                      <a:pt x="220" y="108"/>
                    </a:lnTo>
                    <a:lnTo>
                      <a:pt x="218" y="108"/>
                    </a:lnTo>
                    <a:lnTo>
                      <a:pt x="216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8"/>
                    </a:lnTo>
                    <a:lnTo>
                      <a:pt x="206" y="106"/>
                    </a:lnTo>
                    <a:lnTo>
                      <a:pt x="204" y="102"/>
                    </a:lnTo>
                    <a:lnTo>
                      <a:pt x="202" y="98"/>
                    </a:lnTo>
                    <a:lnTo>
                      <a:pt x="200" y="92"/>
                    </a:lnTo>
                    <a:lnTo>
                      <a:pt x="196" y="88"/>
                    </a:lnTo>
                    <a:lnTo>
                      <a:pt x="194" y="84"/>
                    </a:lnTo>
                    <a:lnTo>
                      <a:pt x="192" y="80"/>
                    </a:lnTo>
                    <a:lnTo>
                      <a:pt x="172" y="54"/>
                    </a:lnTo>
                    <a:lnTo>
                      <a:pt x="154" y="54"/>
                    </a:lnTo>
                    <a:lnTo>
                      <a:pt x="154" y="52"/>
                    </a:lnTo>
                    <a:lnTo>
                      <a:pt x="152" y="50"/>
                    </a:lnTo>
                    <a:lnTo>
                      <a:pt x="150" y="48"/>
                    </a:lnTo>
                    <a:lnTo>
                      <a:pt x="144" y="46"/>
                    </a:lnTo>
                    <a:lnTo>
                      <a:pt x="142" y="44"/>
                    </a:lnTo>
                    <a:lnTo>
                      <a:pt x="138" y="40"/>
                    </a:lnTo>
                    <a:lnTo>
                      <a:pt x="134" y="38"/>
                    </a:lnTo>
                    <a:lnTo>
                      <a:pt x="130" y="34"/>
                    </a:lnTo>
                    <a:lnTo>
                      <a:pt x="124" y="30"/>
                    </a:lnTo>
                    <a:lnTo>
                      <a:pt x="120" y="28"/>
                    </a:lnTo>
                    <a:lnTo>
                      <a:pt x="114" y="26"/>
                    </a:lnTo>
                    <a:lnTo>
                      <a:pt x="102" y="16"/>
                    </a:lnTo>
                    <a:lnTo>
                      <a:pt x="94" y="16"/>
                    </a:lnTo>
                    <a:lnTo>
                      <a:pt x="68" y="4"/>
                    </a:lnTo>
                    <a:lnTo>
                      <a:pt x="62" y="0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4" y="4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5" name="Rectangle 114"/>
              <p:cNvSpPr/>
              <p:nvPr/>
            </p:nvSpPr>
            <p:spPr>
              <a:xfrm>
                <a:off x="-125591" y="4446148"/>
                <a:ext cx="1912725" cy="4089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Saudi Arabia</a:t>
                </a:r>
                <a:r>
                  <a:rPr kumimoji="0" lang="ar-A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 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6.6</a:t>
                </a:r>
                <a:r>
                  <a:rPr kumimoji="0" lang="ar-AE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E3C43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Roboto Light" pitchFamily="2" charset="0"/>
                    <a:cs typeface="Calibri" panose="020F0502020204030204" pitchFamily="34" charset="0"/>
                  </a:rPr>
                  <a:t>%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3E3C43"/>
                  </a:solidFill>
                  <a:effectLst/>
                  <a:uLnTx/>
                  <a:uFillTx/>
                  <a:latin typeface="Calibri" panose="020F0502020204030204" pitchFamily="34" charset="0"/>
                  <a:ea typeface="Roboto Light" pitchFamily="2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4">
              <a:duotone>
                <a:srgbClr val="CC99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5624" y="3893020"/>
              <a:ext cx="1649936" cy="1645167"/>
            </a:xfrm>
            <a:prstGeom prst="rect">
              <a:avLst/>
            </a:prstGeom>
          </p:spPr>
        </p:pic>
      </p:grpSp>
      <p:sp>
        <p:nvSpPr>
          <p:cNvPr id="116" name="Rectangle 115"/>
          <p:cNvSpPr/>
          <p:nvPr/>
        </p:nvSpPr>
        <p:spPr>
          <a:xfrm>
            <a:off x="4876522" y="5950312"/>
            <a:ext cx="8004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Iraq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 3.3%</a:t>
            </a: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89534" y="3335106"/>
            <a:ext cx="3185245" cy="2679116"/>
          </a:xfrm>
          <a:prstGeom prst="rect">
            <a:avLst/>
          </a:prstGeom>
        </p:spPr>
      </p:pic>
      <p:sp>
        <p:nvSpPr>
          <p:cNvPr id="118" name="Rectangle 117"/>
          <p:cNvSpPr/>
          <p:nvPr/>
        </p:nvSpPr>
        <p:spPr>
          <a:xfrm>
            <a:off x="2729184" y="2991745"/>
            <a:ext cx="6601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50.1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1933464" y="3950010"/>
            <a:ext cx="6711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41.4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1597261" y="5103158"/>
            <a:ext cx="72242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30.8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2106918" y="5918785"/>
            <a:ext cx="6977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26.3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3464990" y="6540401"/>
            <a:ext cx="8865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17.8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4876522" y="6483530"/>
            <a:ext cx="9349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15.1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5529819" y="5545938"/>
            <a:ext cx="81463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14.6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590889" y="4955765"/>
            <a:ext cx="9200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13.1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5436176" y="4387090"/>
            <a:ext cx="12060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 12.2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4909437" y="3854915"/>
            <a:ext cx="8477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 Light" pitchFamily="2" charset="0"/>
                <a:cs typeface="Calibri" panose="020F0502020204030204" pitchFamily="34" charset="0"/>
              </a:rPr>
              <a:t>10.6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532972" y="1965742"/>
            <a:ext cx="37760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Including Free Zones &amp; Warehouse (Billions USD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6D78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Roboto" pitchFamily="2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532972" y="1664993"/>
            <a:ext cx="49248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ercentage &amp; Volume of Non-Oil Trading Partners, 2019</a:t>
            </a:r>
          </a:p>
        </p:txBody>
      </p:sp>
    </p:spTree>
    <p:extLst>
      <p:ext uri="{BB962C8B-B14F-4D97-AF65-F5344CB8AC3E}">
        <p14:creationId xmlns:p14="http://schemas.microsoft.com/office/powerpoint/2010/main" val="38903594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Rectangle 128"/>
          <p:cNvSpPr/>
          <p:nvPr/>
        </p:nvSpPr>
        <p:spPr>
          <a:xfrm>
            <a:off x="532972" y="1155760"/>
            <a:ext cx="25058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AD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AE Innovation</a:t>
            </a: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srgbClr val="AD83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Strategy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AD833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532972" y="1722923"/>
            <a:ext cx="83894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n 2015, the UAE released its National Innovation Strategy which prioritized 7 key sectors:</a:t>
            </a: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9"/>
          <a:srcRect r="3462" b="2030"/>
          <a:stretch/>
        </p:blipFill>
        <p:spPr>
          <a:xfrm>
            <a:off x="532972" y="2259309"/>
            <a:ext cx="2832517" cy="4064000"/>
          </a:xfrm>
          <a:prstGeom prst="rect">
            <a:avLst/>
          </a:prstGeom>
          <a:ln>
            <a:solidFill>
              <a:sysClr val="window" lastClr="FFFFFF">
                <a:lumMod val="75000"/>
              </a:sysClr>
            </a:solidFill>
          </a:ln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A2359B31-AE7E-44FF-86A8-1CA8F9637C2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59537" y="2259308"/>
            <a:ext cx="6395641" cy="494193"/>
          </a:xfrm>
          <a:prstGeom prst="rect">
            <a:avLst/>
          </a:prstGeom>
          <a:solidFill>
            <a:srgbClr val="AD833B"/>
          </a:solidFill>
          <a:ln w="635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enewable energ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2359B31-AE7E-44FF-86A8-1CA8F9637C2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59537" y="2851171"/>
            <a:ext cx="6395641" cy="494193"/>
          </a:xfrm>
          <a:prstGeom prst="rect">
            <a:avLst/>
          </a:prstGeom>
          <a:solidFill>
            <a:srgbClr val="AD833B"/>
          </a:solidFill>
          <a:ln w="635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ranspor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2359B31-AE7E-44FF-86A8-1CA8F9637C2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59537" y="3446160"/>
            <a:ext cx="6395641" cy="494193"/>
          </a:xfrm>
          <a:prstGeom prst="rect">
            <a:avLst/>
          </a:prstGeom>
          <a:solidFill>
            <a:srgbClr val="AD833B"/>
          </a:solidFill>
          <a:ln w="635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ducation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2359B31-AE7E-44FF-86A8-1CA8F9637C2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59537" y="4038023"/>
            <a:ext cx="6395641" cy="494193"/>
          </a:xfrm>
          <a:prstGeom prst="rect">
            <a:avLst/>
          </a:prstGeom>
          <a:solidFill>
            <a:srgbClr val="AD833B"/>
          </a:solidFill>
          <a:ln w="635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A2359B31-AE7E-44FF-86A8-1CA8F9637C2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959537" y="4629886"/>
            <a:ext cx="6395641" cy="494193"/>
          </a:xfrm>
          <a:prstGeom prst="rect">
            <a:avLst/>
          </a:prstGeom>
          <a:solidFill>
            <a:srgbClr val="AD833B"/>
          </a:solidFill>
          <a:ln w="635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echnology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2359B31-AE7E-44FF-86A8-1CA8F9637C2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59537" y="5221749"/>
            <a:ext cx="6395641" cy="494193"/>
          </a:xfrm>
          <a:prstGeom prst="rect">
            <a:avLst/>
          </a:prstGeom>
          <a:solidFill>
            <a:srgbClr val="AD833B"/>
          </a:solidFill>
          <a:ln w="635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ate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359B31-AE7E-44FF-86A8-1CA8F9637C21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959537" y="5813612"/>
            <a:ext cx="6395641" cy="494193"/>
          </a:xfrm>
          <a:prstGeom prst="rect">
            <a:avLst/>
          </a:prstGeom>
          <a:solidFill>
            <a:srgbClr val="AD833B"/>
          </a:solidFill>
          <a:ln w="635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pace</a:t>
            </a:r>
          </a:p>
        </p:txBody>
      </p:sp>
      <p:sp>
        <p:nvSpPr>
          <p:cNvPr id="74" name="Isosceles Triangle 72">
            <a:extLst>
              <a:ext uri="{FF2B5EF4-FFF2-40B4-BE49-F238E27FC236}">
                <a16:creationId xmlns:a16="http://schemas.microsoft.com/office/drawing/2014/main" id="{8E2F1EF1-DE67-4577-89BC-00EB6A99C3CA}"/>
              </a:ext>
            </a:extLst>
          </p:cNvPr>
          <p:cNvSpPr/>
          <p:nvPr/>
        </p:nvSpPr>
        <p:spPr>
          <a:xfrm rot="16200000">
            <a:off x="3096510" y="3799761"/>
            <a:ext cx="2056865" cy="787109"/>
          </a:xfrm>
          <a:prstGeom prst="triangle">
            <a:avLst/>
          </a:prstGeom>
          <a:solidFill>
            <a:sysClr val="window" lastClr="FFFFFF">
              <a:lumMod val="65000"/>
            </a:sysClr>
          </a:solidFill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368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1ED846D-DBB6-42E3-A5C3-F385E3D735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20645" y="2133601"/>
            <a:ext cx="8750709" cy="2428568"/>
          </a:xfrm>
        </p:spPr>
        <p:txBody>
          <a:bodyPr>
            <a:noAutofit/>
          </a:bodyPr>
          <a:lstStyle/>
          <a:p>
            <a:r>
              <a:rPr lang="en-US" sz="5400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Investment Environment</a:t>
            </a:r>
            <a:endParaRPr lang="ar-AE" sz="5400" dirty="0">
              <a:solidFill>
                <a:srgbClr val="AD83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2569" cy="107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09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lide Number Placeholder 3"/>
          <p:cNvSpPr txBox="1">
            <a:spLocks/>
          </p:cNvSpPr>
          <p:nvPr/>
        </p:nvSpPr>
        <p:spPr>
          <a:xfrm flipH="1">
            <a:off x="11622256" y="6363617"/>
            <a:ext cx="577770" cy="4032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B119BD-BB28-4F00-BA08-3CD2300E0933}" type="slidenum">
              <a:rPr lang="en-US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9</a:t>
            </a:fld>
            <a:endParaRPr lang="en-US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AutoShape 7"/>
          <p:cNvSpPr>
            <a:spLocks/>
          </p:cNvSpPr>
          <p:nvPr/>
        </p:nvSpPr>
        <p:spPr bwMode="auto">
          <a:xfrm rot="18900000">
            <a:off x="1107620" y="5794225"/>
            <a:ext cx="1114229" cy="972418"/>
          </a:xfrm>
          <a:custGeom>
            <a:avLst/>
            <a:gdLst>
              <a:gd name="T0" fmla="*/ 1571625 w 21600"/>
              <a:gd name="T1" fmla="*/ 1371536 h 21475"/>
              <a:gd name="T2" fmla="*/ 1571625 w 21600"/>
              <a:gd name="T3" fmla="*/ 1371536 h 21475"/>
              <a:gd name="T4" fmla="*/ 1571625 w 21600"/>
              <a:gd name="T5" fmla="*/ 1371536 h 21475"/>
              <a:gd name="T6" fmla="*/ 1571625 w 21600"/>
              <a:gd name="T7" fmla="*/ 1371536 h 2147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475">
                <a:moveTo>
                  <a:pt x="11225" y="0"/>
                </a:moveTo>
                <a:lnTo>
                  <a:pt x="0" y="12148"/>
                </a:lnTo>
                <a:lnTo>
                  <a:pt x="6689" y="19784"/>
                </a:lnTo>
                <a:cubicBezTo>
                  <a:pt x="7916" y="20999"/>
                  <a:pt x="9523" y="21599"/>
                  <a:pt x="11143" y="21453"/>
                </a:cubicBezTo>
                <a:cubicBezTo>
                  <a:pt x="12428" y="21336"/>
                  <a:pt x="13645" y="20752"/>
                  <a:pt x="14615" y="19784"/>
                </a:cubicBezTo>
                <a:lnTo>
                  <a:pt x="21600" y="11822"/>
                </a:lnTo>
                <a:lnTo>
                  <a:pt x="11225" y="0"/>
                </a:lnTo>
                <a:close/>
              </a:path>
            </a:pathLst>
          </a:custGeom>
          <a:solidFill>
            <a:srgbClr val="C6B07C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AutoShape 8"/>
          <p:cNvSpPr>
            <a:spLocks/>
          </p:cNvSpPr>
          <p:nvPr/>
        </p:nvSpPr>
        <p:spPr bwMode="auto">
          <a:xfrm rot="18900000">
            <a:off x="959993" y="5855375"/>
            <a:ext cx="1114228" cy="554864"/>
          </a:xfrm>
          <a:custGeom>
            <a:avLst/>
            <a:gdLst>
              <a:gd name="T0" fmla="*/ 1571625 w 21600"/>
              <a:gd name="T1" fmla="*/ 782638 h 21600"/>
              <a:gd name="T2" fmla="*/ 1571625 w 21600"/>
              <a:gd name="T3" fmla="*/ 782638 h 21600"/>
              <a:gd name="T4" fmla="*/ 1571625 w 21600"/>
              <a:gd name="T5" fmla="*/ 782638 h 21600"/>
              <a:gd name="T6" fmla="*/ 1571625 w 21600"/>
              <a:gd name="T7" fmla="*/ 7826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1225" y="0"/>
                </a:moveTo>
                <a:lnTo>
                  <a:pt x="0" y="21408"/>
                </a:lnTo>
                <a:lnTo>
                  <a:pt x="92" y="21600"/>
                </a:lnTo>
                <a:lnTo>
                  <a:pt x="21220" y="21600"/>
                </a:lnTo>
                <a:lnTo>
                  <a:pt x="21600" y="20833"/>
                </a:lnTo>
                <a:lnTo>
                  <a:pt x="11225" y="0"/>
                </a:lnTo>
                <a:close/>
              </a:path>
            </a:pathLst>
          </a:custGeom>
          <a:solidFill>
            <a:srgbClr val="C6B07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id-ID" sz="1400">
              <a:solidFill>
                <a:srgbClr val="44546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AutoShape 12"/>
          <p:cNvSpPr>
            <a:spLocks/>
          </p:cNvSpPr>
          <p:nvPr/>
        </p:nvSpPr>
        <p:spPr bwMode="auto">
          <a:xfrm rot="18900000">
            <a:off x="1045640" y="4617394"/>
            <a:ext cx="1396163" cy="1351706"/>
          </a:xfrm>
          <a:custGeom>
            <a:avLst/>
            <a:gdLst>
              <a:gd name="T0" fmla="*/ 1969294 w 21508"/>
              <a:gd name="T1" fmla="*/ 1923344 h 21505"/>
              <a:gd name="T2" fmla="*/ 1969294 w 21508"/>
              <a:gd name="T3" fmla="*/ 1923344 h 21505"/>
              <a:gd name="T4" fmla="*/ 1969294 w 21508"/>
              <a:gd name="T5" fmla="*/ 1923344 h 21505"/>
              <a:gd name="T6" fmla="*/ 1969294 w 21508"/>
              <a:gd name="T7" fmla="*/ 1923344 h 2150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508" h="21505">
                <a:moveTo>
                  <a:pt x="0" y="12130"/>
                </a:moveTo>
                <a:lnTo>
                  <a:pt x="9078" y="21504"/>
                </a:lnTo>
                <a:lnTo>
                  <a:pt x="17397" y="12913"/>
                </a:lnTo>
                <a:lnTo>
                  <a:pt x="17397" y="16980"/>
                </a:lnTo>
                <a:cubicBezTo>
                  <a:pt x="17856" y="17686"/>
                  <a:pt x="18608" y="18130"/>
                  <a:pt x="19430" y="18182"/>
                </a:cubicBezTo>
                <a:cubicBezTo>
                  <a:pt x="20187" y="18230"/>
                  <a:pt x="20928" y="17938"/>
                  <a:pt x="21462" y="17381"/>
                </a:cubicBezTo>
                <a:lnTo>
                  <a:pt x="21462" y="2207"/>
                </a:lnTo>
                <a:cubicBezTo>
                  <a:pt x="21599" y="1602"/>
                  <a:pt x="21424" y="965"/>
                  <a:pt x="20998" y="526"/>
                </a:cubicBezTo>
                <a:cubicBezTo>
                  <a:pt x="20572" y="86"/>
                  <a:pt x="19956" y="-95"/>
                  <a:pt x="19370" y="47"/>
                </a:cubicBezTo>
                <a:lnTo>
                  <a:pt x="5640" y="47"/>
                </a:lnTo>
                <a:cubicBezTo>
                  <a:pt x="4749" y="179"/>
                  <a:pt x="4087" y="967"/>
                  <a:pt x="4087" y="1897"/>
                </a:cubicBezTo>
                <a:cubicBezTo>
                  <a:pt x="4087" y="2826"/>
                  <a:pt x="4749" y="3615"/>
                  <a:pt x="5640" y="3747"/>
                </a:cubicBezTo>
                <a:lnTo>
                  <a:pt x="8458" y="3747"/>
                </a:lnTo>
                <a:lnTo>
                  <a:pt x="0" y="12130"/>
                </a:lnTo>
                <a:close/>
              </a:path>
            </a:pathLst>
          </a:custGeom>
          <a:solidFill>
            <a:srgbClr val="AA956F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2692612" y="6106409"/>
            <a:ext cx="238161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0000"/>
              </a:lnSpc>
            </a:pP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USD </a:t>
            </a:r>
            <a:r>
              <a:rPr lang="en-US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10.385</a:t>
            </a:r>
            <a:r>
              <a:rPr lang="ar-SA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Billion </a:t>
            </a:r>
            <a:endParaRPr lang="ar-AE" dirty="0">
              <a:solidFill>
                <a:srgbClr val="C6B07C">
                  <a:lumMod val="7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1240761" y="6030182"/>
            <a:ext cx="97534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18</a:t>
            </a:r>
            <a:endParaRPr lang="ar-AE" dirty="0">
              <a:solidFill>
                <a:srgbClr val="FFFFFF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1264271" y="4596202"/>
            <a:ext cx="97534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19</a:t>
            </a:r>
          </a:p>
          <a:p>
            <a:pPr algn="ctr" rtl="1">
              <a:lnSpc>
                <a:spcPct val="130000"/>
              </a:lnSpc>
            </a:pPr>
            <a:endParaRPr lang="en-US" dirty="0">
              <a:solidFill>
                <a:srgbClr val="FFFFFF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algn="ctr" rtl="1">
              <a:lnSpc>
                <a:spcPct val="130000"/>
              </a:lnSpc>
            </a:pPr>
            <a:r>
              <a:rPr lang="ar-AE" dirty="0">
                <a:solidFill>
                  <a:srgbClr val="FFFFFF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32.7%</a:t>
            </a:r>
          </a:p>
          <a:p>
            <a:pPr algn="ctr" rtl="1">
              <a:lnSpc>
                <a:spcPct val="130000"/>
              </a:lnSpc>
            </a:pPr>
            <a:endParaRPr lang="ar-AE" dirty="0">
              <a:solidFill>
                <a:srgbClr val="FFFFFF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2685567" y="4742936"/>
            <a:ext cx="238161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0000"/>
              </a:lnSpc>
            </a:pP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USD </a:t>
            </a:r>
            <a:r>
              <a:rPr lang="en-US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13.787 </a:t>
            </a: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Billion </a:t>
            </a:r>
          </a:p>
        </p:txBody>
      </p:sp>
      <p:grpSp>
        <p:nvGrpSpPr>
          <p:cNvPr id="62" name="Group 7"/>
          <p:cNvGrpSpPr>
            <a:grpSpLocks/>
          </p:cNvGrpSpPr>
          <p:nvPr/>
        </p:nvGrpSpPr>
        <p:grpSpPr bwMode="auto">
          <a:xfrm flipH="1">
            <a:off x="3227063" y="3316148"/>
            <a:ext cx="1292678" cy="194304"/>
            <a:chOff x="-1" y="0"/>
            <a:chExt cx="3225535" cy="1097663"/>
          </a:xfrm>
        </p:grpSpPr>
        <p:sp>
          <p:nvSpPr>
            <p:cNvPr id="63" name="AutoShape 8"/>
            <p:cNvSpPr>
              <a:spLocks/>
            </p:cNvSpPr>
            <p:nvPr/>
          </p:nvSpPr>
          <p:spPr bwMode="auto">
            <a:xfrm>
              <a:off x="-1" y="173148"/>
              <a:ext cx="3225535" cy="924515"/>
            </a:xfrm>
            <a:custGeom>
              <a:avLst/>
              <a:gdLst>
                <a:gd name="T0" fmla="*/ 1612768 w 21600"/>
                <a:gd name="T1" fmla="*/ 462258 h 21242"/>
                <a:gd name="T2" fmla="*/ 1612768 w 21600"/>
                <a:gd name="T3" fmla="*/ 462258 h 21242"/>
                <a:gd name="T4" fmla="*/ 1612768 w 21600"/>
                <a:gd name="T5" fmla="*/ 462258 h 21242"/>
                <a:gd name="T6" fmla="*/ 1612768 w 21600"/>
                <a:gd name="T7" fmla="*/ 462258 h 2124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242">
                  <a:moveTo>
                    <a:pt x="0" y="0"/>
                  </a:moveTo>
                  <a:lnTo>
                    <a:pt x="0" y="17573"/>
                  </a:lnTo>
                  <a:cubicBezTo>
                    <a:pt x="0" y="18512"/>
                    <a:pt x="1052" y="19449"/>
                    <a:pt x="3161" y="20166"/>
                  </a:cubicBezTo>
                  <a:cubicBezTo>
                    <a:pt x="7378" y="21599"/>
                    <a:pt x="14221" y="21599"/>
                    <a:pt x="18438" y="20166"/>
                  </a:cubicBezTo>
                  <a:cubicBezTo>
                    <a:pt x="20547" y="19449"/>
                    <a:pt x="21599" y="18512"/>
                    <a:pt x="21599" y="17573"/>
                  </a:cubicBezTo>
                  <a:lnTo>
                    <a:pt x="215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C38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AutoShape 9"/>
            <p:cNvSpPr>
              <a:spLocks/>
            </p:cNvSpPr>
            <p:nvPr/>
          </p:nvSpPr>
          <p:spPr bwMode="auto">
            <a:xfrm>
              <a:off x="-1" y="0"/>
              <a:ext cx="3225535" cy="319291"/>
            </a:xfrm>
            <a:custGeom>
              <a:avLst/>
              <a:gdLst>
                <a:gd name="T0" fmla="*/ 1612686 w 19679"/>
                <a:gd name="T1" fmla="*/ 175230 h 19679"/>
                <a:gd name="T2" fmla="*/ 1612686 w 19679"/>
                <a:gd name="T3" fmla="*/ 175230 h 19679"/>
                <a:gd name="T4" fmla="*/ 1612686 w 19679"/>
                <a:gd name="T5" fmla="*/ 175230 h 19679"/>
                <a:gd name="T6" fmla="*/ 1612686 w 19679"/>
                <a:gd name="T7" fmla="*/ 175230 h 1967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  <a:close/>
                </a:path>
              </a:pathLst>
            </a:custGeom>
            <a:solidFill>
              <a:srgbClr val="C6B07C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3F001710-DF2C-4C92-B48E-314694D20488}"/>
              </a:ext>
            </a:extLst>
          </p:cNvPr>
          <p:cNvSpPr/>
          <p:nvPr/>
        </p:nvSpPr>
        <p:spPr>
          <a:xfrm flipH="1">
            <a:off x="3412095" y="1970321"/>
            <a:ext cx="981504" cy="6854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sz="36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4</a:t>
            </a:r>
            <a:endParaRPr lang="ar-AE" sz="36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91CB89C-51A6-4C61-8D7B-AB4186AC5A3C}"/>
              </a:ext>
            </a:extLst>
          </p:cNvPr>
          <p:cNvSpPr txBox="1"/>
          <p:nvPr/>
        </p:nvSpPr>
        <p:spPr>
          <a:xfrm flipH="1">
            <a:off x="1070684" y="1540978"/>
            <a:ext cx="3837668" cy="4154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 rtl="1">
              <a:lnSpc>
                <a:spcPct val="150000"/>
              </a:lnSpc>
            </a:pP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lows of Inward Investment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3282259" y="3541102"/>
            <a:ext cx="1077534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sz="14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Globally</a:t>
            </a:r>
            <a:endParaRPr lang="ar-AE" sz="14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91CB89C-51A6-4C61-8D7B-AB4186AC5A3C}"/>
              </a:ext>
            </a:extLst>
          </p:cNvPr>
          <p:cNvSpPr txBox="1"/>
          <p:nvPr/>
        </p:nvSpPr>
        <p:spPr>
          <a:xfrm flipH="1">
            <a:off x="7309938" y="1546482"/>
            <a:ext cx="4246394" cy="37253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flow of Foreign Investment</a:t>
            </a:r>
          </a:p>
        </p:txBody>
      </p:sp>
      <p:cxnSp>
        <p:nvCxnSpPr>
          <p:cNvPr id="69" name="Straight Connector 68"/>
          <p:cNvCxnSpPr/>
          <p:nvPr/>
        </p:nvCxnSpPr>
        <p:spPr>
          <a:xfrm flipH="1">
            <a:off x="6383409" y="3767328"/>
            <a:ext cx="0" cy="2766200"/>
          </a:xfrm>
          <a:prstGeom prst="line">
            <a:avLst/>
          </a:prstGeom>
          <a:noFill/>
          <a:ln w="12700" cap="flat" cmpd="sng" algn="ctr">
            <a:solidFill>
              <a:srgbClr val="C6B07C">
                <a:lumMod val="60000"/>
                <a:lumOff val="40000"/>
              </a:srgbClr>
            </a:solidFill>
            <a:prstDash val="solid"/>
            <a:miter lim="800000"/>
          </a:ln>
          <a:effectLst/>
        </p:spPr>
      </p:cxnSp>
      <p:pic>
        <p:nvPicPr>
          <p:cNvPr id="70" name="Picture 69">
            <a:extLst>
              <a:ext uri="{FF2B5EF4-FFF2-40B4-BE49-F238E27FC236}">
                <a16:creationId xmlns:a16="http://schemas.microsoft.com/office/drawing/2014/main" id="{09184F06-BBE1-4EF7-854E-321F3A22E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7838" y="2240840"/>
            <a:ext cx="1954652" cy="1453962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8589741" y="4811729"/>
            <a:ext cx="238161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USD </a:t>
            </a:r>
            <a:r>
              <a:rPr lang="en-US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15.9</a:t>
            </a: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Billion</a:t>
            </a:r>
          </a:p>
        </p:txBody>
      </p:sp>
      <p:sp>
        <p:nvSpPr>
          <p:cNvPr id="72" name="Bent Arrow 71"/>
          <p:cNvSpPr/>
          <p:nvPr/>
        </p:nvSpPr>
        <p:spPr>
          <a:xfrm rot="5400000">
            <a:off x="5085868" y="1580673"/>
            <a:ext cx="752111" cy="1152088"/>
          </a:xfrm>
          <a:prstGeom prst="bentArrow">
            <a:avLst>
              <a:gd name="adj1" fmla="val 14912"/>
              <a:gd name="adj2" fmla="val 29563"/>
              <a:gd name="adj3" fmla="val 25000"/>
              <a:gd name="adj4" fmla="val 40779"/>
            </a:avLst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56D7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3" name="Bent Arrow 72"/>
          <p:cNvSpPr/>
          <p:nvPr/>
        </p:nvSpPr>
        <p:spPr>
          <a:xfrm>
            <a:off x="6258088" y="1676294"/>
            <a:ext cx="1001903" cy="800062"/>
          </a:xfrm>
          <a:prstGeom prst="bentArrow">
            <a:avLst>
              <a:gd name="adj1" fmla="val 15917"/>
              <a:gd name="adj2" fmla="val 24661"/>
              <a:gd name="adj3" fmla="val 25000"/>
              <a:gd name="adj4" fmla="val 44903"/>
            </a:avLst>
          </a:prstGeom>
          <a:solidFill>
            <a:srgbClr val="DAC38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56D7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4" name="AutoShape 12"/>
          <p:cNvSpPr>
            <a:spLocks/>
          </p:cNvSpPr>
          <p:nvPr/>
        </p:nvSpPr>
        <p:spPr bwMode="auto">
          <a:xfrm flipH="1">
            <a:off x="3576927" y="2652532"/>
            <a:ext cx="612983" cy="630578"/>
          </a:xfrm>
          <a:custGeom>
            <a:avLst/>
            <a:gdLst>
              <a:gd name="T0" fmla="*/ 1189038 w 21600"/>
              <a:gd name="T1" fmla="*/ 1223169 h 21600"/>
              <a:gd name="T2" fmla="*/ 1189038 w 21600"/>
              <a:gd name="T3" fmla="*/ 1223169 h 21600"/>
              <a:gd name="T4" fmla="*/ 1189038 w 21600"/>
              <a:gd name="T5" fmla="*/ 1223169 h 21600"/>
              <a:gd name="T6" fmla="*/ 1189038 w 21600"/>
              <a:gd name="T7" fmla="*/ 1223169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9302" y="5583"/>
                </a:moveTo>
                <a:cubicBezTo>
                  <a:pt x="18887" y="6051"/>
                  <a:pt x="17598" y="6715"/>
                  <a:pt x="16236" y="7281"/>
                </a:cubicBezTo>
                <a:cubicBezTo>
                  <a:pt x="16017" y="6410"/>
                  <a:pt x="15706" y="5492"/>
                  <a:pt x="15309" y="4605"/>
                </a:cubicBezTo>
                <a:lnTo>
                  <a:pt x="15309" y="3402"/>
                </a:lnTo>
                <a:lnTo>
                  <a:pt x="17468" y="3402"/>
                </a:lnTo>
                <a:lnTo>
                  <a:pt x="17468" y="2352"/>
                </a:lnTo>
                <a:lnTo>
                  <a:pt x="20254" y="2352"/>
                </a:lnTo>
                <a:cubicBezTo>
                  <a:pt x="20254" y="2412"/>
                  <a:pt x="20254" y="2479"/>
                  <a:pt x="20254" y="2551"/>
                </a:cubicBezTo>
                <a:cubicBezTo>
                  <a:pt x="20264" y="3418"/>
                  <a:pt x="20066" y="4788"/>
                  <a:pt x="19302" y="5583"/>
                </a:cubicBezTo>
                <a:close/>
                <a:moveTo>
                  <a:pt x="8608" y="13621"/>
                </a:moveTo>
                <a:cubicBezTo>
                  <a:pt x="8562" y="13708"/>
                  <a:pt x="8427" y="13787"/>
                  <a:pt x="8322" y="13787"/>
                </a:cubicBezTo>
                <a:cubicBezTo>
                  <a:pt x="8312" y="13787"/>
                  <a:pt x="8307" y="13787"/>
                  <a:pt x="8302" y="13787"/>
                </a:cubicBezTo>
                <a:cubicBezTo>
                  <a:pt x="8025" y="13747"/>
                  <a:pt x="8053" y="13677"/>
                  <a:pt x="7959" y="13617"/>
                </a:cubicBezTo>
                <a:cubicBezTo>
                  <a:pt x="6784" y="12501"/>
                  <a:pt x="6112" y="11328"/>
                  <a:pt x="6122" y="9574"/>
                </a:cubicBezTo>
                <a:cubicBezTo>
                  <a:pt x="6122" y="8380"/>
                  <a:pt x="6456" y="6808"/>
                  <a:pt x="7021" y="5233"/>
                </a:cubicBezTo>
                <a:cubicBezTo>
                  <a:pt x="7116" y="4980"/>
                  <a:pt x="7164" y="4848"/>
                  <a:pt x="7230" y="4738"/>
                </a:cubicBezTo>
                <a:cubicBezTo>
                  <a:pt x="7278" y="4711"/>
                  <a:pt x="7220" y="4605"/>
                  <a:pt x="7548" y="4545"/>
                </a:cubicBezTo>
                <a:cubicBezTo>
                  <a:pt x="7890" y="4601"/>
                  <a:pt x="7870" y="4824"/>
                  <a:pt x="7885" y="4835"/>
                </a:cubicBezTo>
                <a:cubicBezTo>
                  <a:pt x="7895" y="4884"/>
                  <a:pt x="7895" y="4911"/>
                  <a:pt x="7895" y="4943"/>
                </a:cubicBezTo>
                <a:cubicBezTo>
                  <a:pt x="7890" y="5343"/>
                  <a:pt x="7646" y="6738"/>
                  <a:pt x="7646" y="8370"/>
                </a:cubicBezTo>
                <a:cubicBezTo>
                  <a:pt x="7646" y="8719"/>
                  <a:pt x="7657" y="9075"/>
                  <a:pt x="7688" y="9423"/>
                </a:cubicBezTo>
                <a:lnTo>
                  <a:pt x="7350" y="9453"/>
                </a:lnTo>
                <a:lnTo>
                  <a:pt x="7688" y="9423"/>
                </a:lnTo>
                <a:cubicBezTo>
                  <a:pt x="7760" y="10404"/>
                  <a:pt x="7994" y="11307"/>
                  <a:pt x="8218" y="12006"/>
                </a:cubicBezTo>
                <a:cubicBezTo>
                  <a:pt x="8437" y="12734"/>
                  <a:pt x="8633" y="13113"/>
                  <a:pt x="8659" y="13431"/>
                </a:cubicBezTo>
                <a:cubicBezTo>
                  <a:pt x="8659" y="13474"/>
                  <a:pt x="8654" y="13535"/>
                  <a:pt x="8608" y="13621"/>
                </a:cubicBezTo>
                <a:close/>
                <a:moveTo>
                  <a:pt x="2297" y="5575"/>
                </a:moveTo>
                <a:cubicBezTo>
                  <a:pt x="1527" y="4788"/>
                  <a:pt x="1334" y="3425"/>
                  <a:pt x="1340" y="2555"/>
                </a:cubicBezTo>
                <a:cubicBezTo>
                  <a:pt x="1340" y="2485"/>
                  <a:pt x="1340" y="2412"/>
                  <a:pt x="1345" y="2352"/>
                </a:cubicBezTo>
                <a:lnTo>
                  <a:pt x="4133" y="2352"/>
                </a:lnTo>
                <a:lnTo>
                  <a:pt x="4133" y="3402"/>
                </a:lnTo>
                <a:lnTo>
                  <a:pt x="6290" y="3402"/>
                </a:lnTo>
                <a:lnTo>
                  <a:pt x="6290" y="4615"/>
                </a:lnTo>
                <a:cubicBezTo>
                  <a:pt x="5893" y="5495"/>
                  <a:pt x="5582" y="6410"/>
                  <a:pt x="5363" y="7281"/>
                </a:cubicBezTo>
                <a:cubicBezTo>
                  <a:pt x="4001" y="6715"/>
                  <a:pt x="2712" y="6051"/>
                  <a:pt x="2297" y="5575"/>
                </a:cubicBezTo>
                <a:close/>
                <a:moveTo>
                  <a:pt x="21600" y="2551"/>
                </a:moveTo>
                <a:cubicBezTo>
                  <a:pt x="21600" y="1999"/>
                  <a:pt x="21543" y="1631"/>
                  <a:pt x="21543" y="1610"/>
                </a:cubicBezTo>
                <a:cubicBezTo>
                  <a:pt x="21497" y="1285"/>
                  <a:pt x="21215" y="1049"/>
                  <a:pt x="20878" y="1049"/>
                </a:cubicBezTo>
                <a:lnTo>
                  <a:pt x="17468" y="1049"/>
                </a:lnTo>
                <a:lnTo>
                  <a:pt x="17468" y="0"/>
                </a:lnTo>
                <a:lnTo>
                  <a:pt x="4133" y="0"/>
                </a:lnTo>
                <a:lnTo>
                  <a:pt x="4133" y="1049"/>
                </a:lnTo>
                <a:lnTo>
                  <a:pt x="721" y="1049"/>
                </a:lnTo>
                <a:cubicBezTo>
                  <a:pt x="384" y="1049"/>
                  <a:pt x="102" y="1285"/>
                  <a:pt x="56" y="1605"/>
                </a:cubicBezTo>
                <a:cubicBezTo>
                  <a:pt x="51" y="1631"/>
                  <a:pt x="0" y="1999"/>
                  <a:pt x="0" y="2555"/>
                </a:cubicBezTo>
                <a:cubicBezTo>
                  <a:pt x="10" y="3561"/>
                  <a:pt x="150" y="5216"/>
                  <a:pt x="1304" y="6463"/>
                </a:cubicBezTo>
                <a:cubicBezTo>
                  <a:pt x="2104" y="7281"/>
                  <a:pt x="3591" y="7978"/>
                  <a:pt x="5098" y="8583"/>
                </a:cubicBezTo>
                <a:cubicBezTo>
                  <a:pt x="5042" y="8982"/>
                  <a:pt x="5005" y="9357"/>
                  <a:pt x="5005" y="9689"/>
                </a:cubicBezTo>
                <a:cubicBezTo>
                  <a:pt x="5005" y="12418"/>
                  <a:pt x="7001" y="14688"/>
                  <a:pt x="9652" y="15203"/>
                </a:cubicBezTo>
                <a:lnTo>
                  <a:pt x="9652" y="16589"/>
                </a:lnTo>
                <a:lnTo>
                  <a:pt x="4989" y="20909"/>
                </a:lnTo>
                <a:cubicBezTo>
                  <a:pt x="4989" y="20909"/>
                  <a:pt x="6306" y="21599"/>
                  <a:pt x="10910" y="21599"/>
                </a:cubicBezTo>
                <a:cubicBezTo>
                  <a:pt x="15517" y="21599"/>
                  <a:pt x="16610" y="20909"/>
                  <a:pt x="16610" y="20909"/>
                </a:cubicBezTo>
                <a:lnTo>
                  <a:pt x="11946" y="16589"/>
                </a:lnTo>
                <a:lnTo>
                  <a:pt x="11946" y="15209"/>
                </a:lnTo>
                <a:cubicBezTo>
                  <a:pt x="14598" y="14688"/>
                  <a:pt x="16594" y="12418"/>
                  <a:pt x="16594" y="9689"/>
                </a:cubicBezTo>
                <a:cubicBezTo>
                  <a:pt x="16594" y="9357"/>
                  <a:pt x="16557" y="8979"/>
                  <a:pt x="16501" y="8583"/>
                </a:cubicBezTo>
                <a:cubicBezTo>
                  <a:pt x="18008" y="7978"/>
                  <a:pt x="19495" y="7281"/>
                  <a:pt x="20295" y="6463"/>
                </a:cubicBezTo>
                <a:cubicBezTo>
                  <a:pt x="21444" y="5213"/>
                  <a:pt x="21589" y="3561"/>
                  <a:pt x="21600" y="2551"/>
                </a:cubicBezTo>
                <a:close/>
              </a:path>
            </a:pathLst>
          </a:custGeom>
          <a:solidFill>
            <a:srgbClr val="DAC386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5" name="Group 7"/>
          <p:cNvGrpSpPr>
            <a:grpSpLocks/>
          </p:cNvGrpSpPr>
          <p:nvPr/>
        </p:nvGrpSpPr>
        <p:grpSpPr bwMode="auto">
          <a:xfrm flipH="1">
            <a:off x="1657999" y="3389914"/>
            <a:ext cx="1292678" cy="115889"/>
            <a:chOff x="-1" y="0"/>
            <a:chExt cx="3225535" cy="1097663"/>
          </a:xfrm>
        </p:grpSpPr>
        <p:sp>
          <p:nvSpPr>
            <p:cNvPr id="76" name="AutoShape 8"/>
            <p:cNvSpPr>
              <a:spLocks/>
            </p:cNvSpPr>
            <p:nvPr/>
          </p:nvSpPr>
          <p:spPr bwMode="auto">
            <a:xfrm>
              <a:off x="-1" y="173148"/>
              <a:ext cx="3225535" cy="924515"/>
            </a:xfrm>
            <a:custGeom>
              <a:avLst/>
              <a:gdLst>
                <a:gd name="T0" fmla="*/ 1612768 w 21600"/>
                <a:gd name="T1" fmla="*/ 462258 h 21242"/>
                <a:gd name="T2" fmla="*/ 1612768 w 21600"/>
                <a:gd name="T3" fmla="*/ 462258 h 21242"/>
                <a:gd name="T4" fmla="*/ 1612768 w 21600"/>
                <a:gd name="T5" fmla="*/ 462258 h 21242"/>
                <a:gd name="T6" fmla="*/ 1612768 w 21600"/>
                <a:gd name="T7" fmla="*/ 462258 h 2124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242">
                  <a:moveTo>
                    <a:pt x="0" y="0"/>
                  </a:moveTo>
                  <a:lnTo>
                    <a:pt x="0" y="17573"/>
                  </a:lnTo>
                  <a:cubicBezTo>
                    <a:pt x="0" y="18512"/>
                    <a:pt x="1052" y="19449"/>
                    <a:pt x="3161" y="20166"/>
                  </a:cubicBezTo>
                  <a:cubicBezTo>
                    <a:pt x="7378" y="21599"/>
                    <a:pt x="14221" y="21599"/>
                    <a:pt x="18438" y="20166"/>
                  </a:cubicBezTo>
                  <a:cubicBezTo>
                    <a:pt x="20547" y="19449"/>
                    <a:pt x="21599" y="18512"/>
                    <a:pt x="21599" y="17573"/>
                  </a:cubicBezTo>
                  <a:lnTo>
                    <a:pt x="215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C38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7" name="AutoShape 9"/>
            <p:cNvSpPr>
              <a:spLocks/>
            </p:cNvSpPr>
            <p:nvPr/>
          </p:nvSpPr>
          <p:spPr bwMode="auto">
            <a:xfrm>
              <a:off x="-1" y="0"/>
              <a:ext cx="3225535" cy="319291"/>
            </a:xfrm>
            <a:custGeom>
              <a:avLst/>
              <a:gdLst>
                <a:gd name="T0" fmla="*/ 1612686 w 19679"/>
                <a:gd name="T1" fmla="*/ 175230 h 19679"/>
                <a:gd name="T2" fmla="*/ 1612686 w 19679"/>
                <a:gd name="T3" fmla="*/ 175230 h 19679"/>
                <a:gd name="T4" fmla="*/ 1612686 w 19679"/>
                <a:gd name="T5" fmla="*/ 175230 h 19679"/>
                <a:gd name="T6" fmla="*/ 1612686 w 19679"/>
                <a:gd name="T7" fmla="*/ 175230 h 1967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  <a:close/>
                </a:path>
              </a:pathLst>
            </a:custGeom>
            <a:solidFill>
              <a:srgbClr val="C6B07C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8" name="Rectangle 77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3333356" y="3790370"/>
            <a:ext cx="97534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19</a:t>
            </a:r>
            <a:endParaRPr lang="ar-AE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F001710-DF2C-4C92-B48E-314694D20488}"/>
              </a:ext>
            </a:extLst>
          </p:cNvPr>
          <p:cNvSpPr/>
          <p:nvPr/>
        </p:nvSpPr>
        <p:spPr>
          <a:xfrm flipH="1">
            <a:off x="10032687" y="1960381"/>
            <a:ext cx="981504" cy="6854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sz="36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19</a:t>
            </a:r>
          </a:p>
        </p:txBody>
      </p:sp>
      <p:sp>
        <p:nvSpPr>
          <p:cNvPr id="80" name="AutoShape 12"/>
          <p:cNvSpPr>
            <a:spLocks/>
          </p:cNvSpPr>
          <p:nvPr/>
        </p:nvSpPr>
        <p:spPr bwMode="auto">
          <a:xfrm flipH="1">
            <a:off x="2057561" y="2735373"/>
            <a:ext cx="612983" cy="630578"/>
          </a:xfrm>
          <a:custGeom>
            <a:avLst/>
            <a:gdLst>
              <a:gd name="T0" fmla="*/ 1189038 w 21600"/>
              <a:gd name="T1" fmla="*/ 1223169 h 21600"/>
              <a:gd name="T2" fmla="*/ 1189038 w 21600"/>
              <a:gd name="T3" fmla="*/ 1223169 h 21600"/>
              <a:gd name="T4" fmla="*/ 1189038 w 21600"/>
              <a:gd name="T5" fmla="*/ 1223169 h 21600"/>
              <a:gd name="T6" fmla="*/ 1189038 w 21600"/>
              <a:gd name="T7" fmla="*/ 1223169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9302" y="5583"/>
                </a:moveTo>
                <a:cubicBezTo>
                  <a:pt x="18887" y="6051"/>
                  <a:pt x="17598" y="6715"/>
                  <a:pt x="16236" y="7281"/>
                </a:cubicBezTo>
                <a:cubicBezTo>
                  <a:pt x="16017" y="6410"/>
                  <a:pt x="15706" y="5492"/>
                  <a:pt x="15309" y="4605"/>
                </a:cubicBezTo>
                <a:lnTo>
                  <a:pt x="15309" y="3402"/>
                </a:lnTo>
                <a:lnTo>
                  <a:pt x="17468" y="3402"/>
                </a:lnTo>
                <a:lnTo>
                  <a:pt x="17468" y="2352"/>
                </a:lnTo>
                <a:lnTo>
                  <a:pt x="20254" y="2352"/>
                </a:lnTo>
                <a:cubicBezTo>
                  <a:pt x="20254" y="2412"/>
                  <a:pt x="20254" y="2479"/>
                  <a:pt x="20254" y="2551"/>
                </a:cubicBezTo>
                <a:cubicBezTo>
                  <a:pt x="20264" y="3418"/>
                  <a:pt x="20066" y="4788"/>
                  <a:pt x="19302" y="5583"/>
                </a:cubicBezTo>
                <a:close/>
                <a:moveTo>
                  <a:pt x="8608" y="13621"/>
                </a:moveTo>
                <a:cubicBezTo>
                  <a:pt x="8562" y="13708"/>
                  <a:pt x="8427" y="13787"/>
                  <a:pt x="8322" y="13787"/>
                </a:cubicBezTo>
                <a:cubicBezTo>
                  <a:pt x="8312" y="13787"/>
                  <a:pt x="8307" y="13787"/>
                  <a:pt x="8302" y="13787"/>
                </a:cubicBezTo>
                <a:cubicBezTo>
                  <a:pt x="8025" y="13747"/>
                  <a:pt x="8053" y="13677"/>
                  <a:pt x="7959" y="13617"/>
                </a:cubicBezTo>
                <a:cubicBezTo>
                  <a:pt x="6784" y="12501"/>
                  <a:pt x="6112" y="11328"/>
                  <a:pt x="6122" y="9574"/>
                </a:cubicBezTo>
                <a:cubicBezTo>
                  <a:pt x="6122" y="8380"/>
                  <a:pt x="6456" y="6808"/>
                  <a:pt x="7021" y="5233"/>
                </a:cubicBezTo>
                <a:cubicBezTo>
                  <a:pt x="7116" y="4980"/>
                  <a:pt x="7164" y="4848"/>
                  <a:pt x="7230" y="4738"/>
                </a:cubicBezTo>
                <a:cubicBezTo>
                  <a:pt x="7278" y="4711"/>
                  <a:pt x="7220" y="4605"/>
                  <a:pt x="7548" y="4545"/>
                </a:cubicBezTo>
                <a:cubicBezTo>
                  <a:pt x="7890" y="4601"/>
                  <a:pt x="7870" y="4824"/>
                  <a:pt x="7885" y="4835"/>
                </a:cubicBezTo>
                <a:cubicBezTo>
                  <a:pt x="7895" y="4884"/>
                  <a:pt x="7895" y="4911"/>
                  <a:pt x="7895" y="4943"/>
                </a:cubicBezTo>
                <a:cubicBezTo>
                  <a:pt x="7890" y="5343"/>
                  <a:pt x="7646" y="6738"/>
                  <a:pt x="7646" y="8370"/>
                </a:cubicBezTo>
                <a:cubicBezTo>
                  <a:pt x="7646" y="8719"/>
                  <a:pt x="7657" y="9075"/>
                  <a:pt x="7688" y="9423"/>
                </a:cubicBezTo>
                <a:lnTo>
                  <a:pt x="7350" y="9453"/>
                </a:lnTo>
                <a:lnTo>
                  <a:pt x="7688" y="9423"/>
                </a:lnTo>
                <a:cubicBezTo>
                  <a:pt x="7760" y="10404"/>
                  <a:pt x="7994" y="11307"/>
                  <a:pt x="8218" y="12006"/>
                </a:cubicBezTo>
                <a:cubicBezTo>
                  <a:pt x="8437" y="12734"/>
                  <a:pt x="8633" y="13113"/>
                  <a:pt x="8659" y="13431"/>
                </a:cubicBezTo>
                <a:cubicBezTo>
                  <a:pt x="8659" y="13474"/>
                  <a:pt x="8654" y="13535"/>
                  <a:pt x="8608" y="13621"/>
                </a:cubicBezTo>
                <a:close/>
                <a:moveTo>
                  <a:pt x="2297" y="5575"/>
                </a:moveTo>
                <a:cubicBezTo>
                  <a:pt x="1527" y="4788"/>
                  <a:pt x="1334" y="3425"/>
                  <a:pt x="1340" y="2555"/>
                </a:cubicBezTo>
                <a:cubicBezTo>
                  <a:pt x="1340" y="2485"/>
                  <a:pt x="1340" y="2412"/>
                  <a:pt x="1345" y="2352"/>
                </a:cubicBezTo>
                <a:lnTo>
                  <a:pt x="4133" y="2352"/>
                </a:lnTo>
                <a:lnTo>
                  <a:pt x="4133" y="3402"/>
                </a:lnTo>
                <a:lnTo>
                  <a:pt x="6290" y="3402"/>
                </a:lnTo>
                <a:lnTo>
                  <a:pt x="6290" y="4615"/>
                </a:lnTo>
                <a:cubicBezTo>
                  <a:pt x="5893" y="5495"/>
                  <a:pt x="5582" y="6410"/>
                  <a:pt x="5363" y="7281"/>
                </a:cubicBezTo>
                <a:cubicBezTo>
                  <a:pt x="4001" y="6715"/>
                  <a:pt x="2712" y="6051"/>
                  <a:pt x="2297" y="5575"/>
                </a:cubicBezTo>
                <a:close/>
                <a:moveTo>
                  <a:pt x="21600" y="2551"/>
                </a:moveTo>
                <a:cubicBezTo>
                  <a:pt x="21600" y="1999"/>
                  <a:pt x="21543" y="1631"/>
                  <a:pt x="21543" y="1610"/>
                </a:cubicBezTo>
                <a:cubicBezTo>
                  <a:pt x="21497" y="1285"/>
                  <a:pt x="21215" y="1049"/>
                  <a:pt x="20878" y="1049"/>
                </a:cubicBezTo>
                <a:lnTo>
                  <a:pt x="17468" y="1049"/>
                </a:lnTo>
                <a:lnTo>
                  <a:pt x="17468" y="0"/>
                </a:lnTo>
                <a:lnTo>
                  <a:pt x="4133" y="0"/>
                </a:lnTo>
                <a:lnTo>
                  <a:pt x="4133" y="1049"/>
                </a:lnTo>
                <a:lnTo>
                  <a:pt x="721" y="1049"/>
                </a:lnTo>
                <a:cubicBezTo>
                  <a:pt x="384" y="1049"/>
                  <a:pt x="102" y="1285"/>
                  <a:pt x="56" y="1605"/>
                </a:cubicBezTo>
                <a:cubicBezTo>
                  <a:pt x="51" y="1631"/>
                  <a:pt x="0" y="1999"/>
                  <a:pt x="0" y="2555"/>
                </a:cubicBezTo>
                <a:cubicBezTo>
                  <a:pt x="10" y="3561"/>
                  <a:pt x="150" y="5216"/>
                  <a:pt x="1304" y="6463"/>
                </a:cubicBezTo>
                <a:cubicBezTo>
                  <a:pt x="2104" y="7281"/>
                  <a:pt x="3591" y="7978"/>
                  <a:pt x="5098" y="8583"/>
                </a:cubicBezTo>
                <a:cubicBezTo>
                  <a:pt x="5042" y="8982"/>
                  <a:pt x="5005" y="9357"/>
                  <a:pt x="5005" y="9689"/>
                </a:cubicBezTo>
                <a:cubicBezTo>
                  <a:pt x="5005" y="12418"/>
                  <a:pt x="7001" y="14688"/>
                  <a:pt x="9652" y="15203"/>
                </a:cubicBezTo>
                <a:lnTo>
                  <a:pt x="9652" y="16589"/>
                </a:lnTo>
                <a:lnTo>
                  <a:pt x="4989" y="20909"/>
                </a:lnTo>
                <a:cubicBezTo>
                  <a:pt x="4989" y="20909"/>
                  <a:pt x="6306" y="21599"/>
                  <a:pt x="10910" y="21599"/>
                </a:cubicBezTo>
                <a:cubicBezTo>
                  <a:pt x="15517" y="21599"/>
                  <a:pt x="16610" y="20909"/>
                  <a:pt x="16610" y="20909"/>
                </a:cubicBezTo>
                <a:lnTo>
                  <a:pt x="11946" y="16589"/>
                </a:lnTo>
                <a:lnTo>
                  <a:pt x="11946" y="15209"/>
                </a:lnTo>
                <a:cubicBezTo>
                  <a:pt x="14598" y="14688"/>
                  <a:pt x="16594" y="12418"/>
                  <a:pt x="16594" y="9689"/>
                </a:cubicBezTo>
                <a:cubicBezTo>
                  <a:pt x="16594" y="9357"/>
                  <a:pt x="16557" y="8979"/>
                  <a:pt x="16501" y="8583"/>
                </a:cubicBezTo>
                <a:cubicBezTo>
                  <a:pt x="18008" y="7978"/>
                  <a:pt x="19495" y="7281"/>
                  <a:pt x="20295" y="6463"/>
                </a:cubicBezTo>
                <a:cubicBezTo>
                  <a:pt x="21444" y="5213"/>
                  <a:pt x="21589" y="3561"/>
                  <a:pt x="21600" y="2551"/>
                </a:cubicBezTo>
                <a:close/>
              </a:path>
            </a:pathLst>
          </a:custGeom>
          <a:solidFill>
            <a:srgbClr val="DAC386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F001710-DF2C-4C92-B48E-314694D20488}"/>
              </a:ext>
            </a:extLst>
          </p:cNvPr>
          <p:cNvSpPr/>
          <p:nvPr/>
        </p:nvSpPr>
        <p:spPr>
          <a:xfrm flipH="1">
            <a:off x="1873301" y="2076325"/>
            <a:ext cx="981504" cy="6854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sz="36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7</a:t>
            </a:r>
            <a:endParaRPr lang="ar-AE" sz="36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1764884" y="3541102"/>
            <a:ext cx="1077534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sz="14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Globally</a:t>
            </a:r>
            <a:endParaRPr lang="ar-AE" sz="14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1815981" y="3790370"/>
            <a:ext cx="97534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18</a:t>
            </a:r>
            <a:endParaRPr lang="ar-AE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84" name="Straight Connector 83"/>
          <p:cNvCxnSpPr/>
          <p:nvPr/>
        </p:nvCxnSpPr>
        <p:spPr>
          <a:xfrm flipV="1">
            <a:off x="2950677" y="3344408"/>
            <a:ext cx="276386" cy="62361"/>
          </a:xfrm>
          <a:prstGeom prst="line">
            <a:avLst/>
          </a:prstGeom>
          <a:noFill/>
          <a:ln w="28575" cap="flat" cmpd="sng" algn="ctr">
            <a:solidFill>
              <a:srgbClr val="DAC386"/>
            </a:solidFill>
            <a:prstDash val="solid"/>
            <a:miter lim="800000"/>
          </a:ln>
          <a:effectLst/>
        </p:spPr>
      </p:cxnSp>
      <p:sp>
        <p:nvSpPr>
          <p:cNvPr id="85" name="AutoShape 7"/>
          <p:cNvSpPr>
            <a:spLocks/>
          </p:cNvSpPr>
          <p:nvPr/>
        </p:nvSpPr>
        <p:spPr bwMode="auto">
          <a:xfrm rot="18900000">
            <a:off x="7402456" y="5794226"/>
            <a:ext cx="1114229" cy="972418"/>
          </a:xfrm>
          <a:custGeom>
            <a:avLst/>
            <a:gdLst>
              <a:gd name="T0" fmla="*/ 1571625 w 21600"/>
              <a:gd name="T1" fmla="*/ 1371536 h 21475"/>
              <a:gd name="T2" fmla="*/ 1571625 w 21600"/>
              <a:gd name="T3" fmla="*/ 1371536 h 21475"/>
              <a:gd name="T4" fmla="*/ 1571625 w 21600"/>
              <a:gd name="T5" fmla="*/ 1371536 h 21475"/>
              <a:gd name="T6" fmla="*/ 1571625 w 21600"/>
              <a:gd name="T7" fmla="*/ 1371536 h 2147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475">
                <a:moveTo>
                  <a:pt x="11225" y="0"/>
                </a:moveTo>
                <a:lnTo>
                  <a:pt x="0" y="12148"/>
                </a:lnTo>
                <a:lnTo>
                  <a:pt x="6689" y="19784"/>
                </a:lnTo>
                <a:cubicBezTo>
                  <a:pt x="7916" y="20999"/>
                  <a:pt x="9523" y="21599"/>
                  <a:pt x="11143" y="21453"/>
                </a:cubicBezTo>
                <a:cubicBezTo>
                  <a:pt x="12428" y="21336"/>
                  <a:pt x="13645" y="20752"/>
                  <a:pt x="14615" y="19784"/>
                </a:cubicBezTo>
                <a:lnTo>
                  <a:pt x="21600" y="11822"/>
                </a:lnTo>
                <a:lnTo>
                  <a:pt x="11225" y="0"/>
                </a:lnTo>
                <a:close/>
              </a:path>
            </a:pathLst>
          </a:custGeom>
          <a:solidFill>
            <a:srgbClr val="C6B07C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6" name="AutoShape 8"/>
          <p:cNvSpPr>
            <a:spLocks/>
          </p:cNvSpPr>
          <p:nvPr/>
        </p:nvSpPr>
        <p:spPr bwMode="auto">
          <a:xfrm rot="18900000">
            <a:off x="7254829" y="5855376"/>
            <a:ext cx="1114228" cy="554864"/>
          </a:xfrm>
          <a:custGeom>
            <a:avLst/>
            <a:gdLst>
              <a:gd name="T0" fmla="*/ 1571625 w 21600"/>
              <a:gd name="T1" fmla="*/ 782638 h 21600"/>
              <a:gd name="T2" fmla="*/ 1571625 w 21600"/>
              <a:gd name="T3" fmla="*/ 782638 h 21600"/>
              <a:gd name="T4" fmla="*/ 1571625 w 21600"/>
              <a:gd name="T5" fmla="*/ 782638 h 21600"/>
              <a:gd name="T6" fmla="*/ 1571625 w 21600"/>
              <a:gd name="T7" fmla="*/ 7826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1225" y="0"/>
                </a:moveTo>
                <a:lnTo>
                  <a:pt x="0" y="21408"/>
                </a:lnTo>
                <a:lnTo>
                  <a:pt x="92" y="21600"/>
                </a:lnTo>
                <a:lnTo>
                  <a:pt x="21220" y="21600"/>
                </a:lnTo>
                <a:lnTo>
                  <a:pt x="21600" y="20833"/>
                </a:lnTo>
                <a:lnTo>
                  <a:pt x="11225" y="0"/>
                </a:lnTo>
                <a:close/>
              </a:path>
            </a:pathLst>
          </a:custGeom>
          <a:solidFill>
            <a:srgbClr val="C6B07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50800" tIns="50800" rIns="50800" bIns="50800" anchor="ctr"/>
          <a:lstStyle/>
          <a:p>
            <a:endParaRPr lang="id-ID" sz="1400">
              <a:solidFill>
                <a:srgbClr val="44546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AutoShape 12"/>
          <p:cNvSpPr>
            <a:spLocks/>
          </p:cNvSpPr>
          <p:nvPr/>
        </p:nvSpPr>
        <p:spPr bwMode="auto">
          <a:xfrm rot="18900000">
            <a:off x="7340476" y="4617395"/>
            <a:ext cx="1396163" cy="1351706"/>
          </a:xfrm>
          <a:custGeom>
            <a:avLst/>
            <a:gdLst>
              <a:gd name="T0" fmla="*/ 1969294 w 21508"/>
              <a:gd name="T1" fmla="*/ 1923344 h 21505"/>
              <a:gd name="T2" fmla="*/ 1969294 w 21508"/>
              <a:gd name="T3" fmla="*/ 1923344 h 21505"/>
              <a:gd name="T4" fmla="*/ 1969294 w 21508"/>
              <a:gd name="T5" fmla="*/ 1923344 h 21505"/>
              <a:gd name="T6" fmla="*/ 1969294 w 21508"/>
              <a:gd name="T7" fmla="*/ 1923344 h 2150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508" h="21505">
                <a:moveTo>
                  <a:pt x="0" y="12130"/>
                </a:moveTo>
                <a:lnTo>
                  <a:pt x="9078" y="21504"/>
                </a:lnTo>
                <a:lnTo>
                  <a:pt x="17397" y="12913"/>
                </a:lnTo>
                <a:lnTo>
                  <a:pt x="17397" y="16980"/>
                </a:lnTo>
                <a:cubicBezTo>
                  <a:pt x="17856" y="17686"/>
                  <a:pt x="18608" y="18130"/>
                  <a:pt x="19430" y="18182"/>
                </a:cubicBezTo>
                <a:cubicBezTo>
                  <a:pt x="20187" y="18230"/>
                  <a:pt x="20928" y="17938"/>
                  <a:pt x="21462" y="17381"/>
                </a:cubicBezTo>
                <a:lnTo>
                  <a:pt x="21462" y="2207"/>
                </a:lnTo>
                <a:cubicBezTo>
                  <a:pt x="21599" y="1602"/>
                  <a:pt x="21424" y="965"/>
                  <a:pt x="20998" y="526"/>
                </a:cubicBezTo>
                <a:cubicBezTo>
                  <a:pt x="20572" y="86"/>
                  <a:pt x="19956" y="-95"/>
                  <a:pt x="19370" y="47"/>
                </a:cubicBezTo>
                <a:lnTo>
                  <a:pt x="5640" y="47"/>
                </a:lnTo>
                <a:cubicBezTo>
                  <a:pt x="4749" y="179"/>
                  <a:pt x="4087" y="967"/>
                  <a:pt x="4087" y="1897"/>
                </a:cubicBezTo>
                <a:cubicBezTo>
                  <a:pt x="4087" y="2826"/>
                  <a:pt x="4749" y="3615"/>
                  <a:pt x="5640" y="3747"/>
                </a:cubicBezTo>
                <a:lnTo>
                  <a:pt x="8458" y="3747"/>
                </a:lnTo>
                <a:lnTo>
                  <a:pt x="0" y="12130"/>
                </a:lnTo>
                <a:close/>
              </a:path>
            </a:pathLst>
          </a:custGeom>
          <a:solidFill>
            <a:srgbClr val="AA956F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7559107" y="6030182"/>
            <a:ext cx="97534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18</a:t>
            </a:r>
            <a:endParaRPr lang="ar-AE" dirty="0">
              <a:solidFill>
                <a:srgbClr val="FFFFFF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7559107" y="4596203"/>
            <a:ext cx="97534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19</a:t>
            </a:r>
          </a:p>
          <a:p>
            <a:pPr algn="ctr" rtl="1">
              <a:lnSpc>
                <a:spcPct val="130000"/>
              </a:lnSpc>
            </a:pPr>
            <a:endParaRPr lang="en-US" dirty="0">
              <a:solidFill>
                <a:srgbClr val="FFFFFF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5.6 %</a:t>
            </a:r>
            <a:endParaRPr lang="ar-AE" dirty="0">
              <a:solidFill>
                <a:srgbClr val="FFFFFF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30000"/>
              </a:lnSpc>
            </a:pPr>
            <a:endParaRPr lang="ar-AE" dirty="0">
              <a:solidFill>
                <a:srgbClr val="FFFFFF"/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8860773" y="6081275"/>
            <a:ext cx="238161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130000"/>
              </a:lnSpc>
            </a:pP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USD </a:t>
            </a:r>
            <a:r>
              <a:rPr lang="en-US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15.06</a:t>
            </a:r>
            <a:r>
              <a:rPr lang="en-US" dirty="0">
                <a:solidFill>
                  <a:srgbClr val="C6B07C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 Billion </a:t>
            </a:r>
            <a:endParaRPr lang="ar-AE" dirty="0">
              <a:solidFill>
                <a:srgbClr val="C6B07C">
                  <a:lumMod val="7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6597B7E8-68DE-4FFC-8C6C-7E2309EAE1B0}"/>
              </a:ext>
            </a:extLst>
          </p:cNvPr>
          <p:cNvSpPr/>
          <p:nvPr/>
        </p:nvSpPr>
        <p:spPr>
          <a:xfrm flipH="1">
            <a:off x="8534448" y="2048623"/>
            <a:ext cx="981504" cy="6854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sz="36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19</a:t>
            </a:r>
            <a:endParaRPr lang="ar-AE" sz="36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92" name="Group 7"/>
          <p:cNvGrpSpPr>
            <a:grpSpLocks/>
          </p:cNvGrpSpPr>
          <p:nvPr/>
        </p:nvGrpSpPr>
        <p:grpSpPr bwMode="auto">
          <a:xfrm flipH="1">
            <a:off x="9854135" y="3287772"/>
            <a:ext cx="1292678" cy="194304"/>
            <a:chOff x="-1" y="0"/>
            <a:chExt cx="3225535" cy="1097663"/>
          </a:xfrm>
        </p:grpSpPr>
        <p:sp>
          <p:nvSpPr>
            <p:cNvPr id="93" name="AutoShape 8"/>
            <p:cNvSpPr>
              <a:spLocks/>
            </p:cNvSpPr>
            <p:nvPr/>
          </p:nvSpPr>
          <p:spPr bwMode="auto">
            <a:xfrm>
              <a:off x="-1" y="173148"/>
              <a:ext cx="3225535" cy="924515"/>
            </a:xfrm>
            <a:custGeom>
              <a:avLst/>
              <a:gdLst>
                <a:gd name="T0" fmla="*/ 1612768 w 21600"/>
                <a:gd name="T1" fmla="*/ 462258 h 21242"/>
                <a:gd name="T2" fmla="*/ 1612768 w 21600"/>
                <a:gd name="T3" fmla="*/ 462258 h 21242"/>
                <a:gd name="T4" fmla="*/ 1612768 w 21600"/>
                <a:gd name="T5" fmla="*/ 462258 h 21242"/>
                <a:gd name="T6" fmla="*/ 1612768 w 21600"/>
                <a:gd name="T7" fmla="*/ 462258 h 2124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242">
                  <a:moveTo>
                    <a:pt x="0" y="0"/>
                  </a:moveTo>
                  <a:lnTo>
                    <a:pt x="0" y="17573"/>
                  </a:lnTo>
                  <a:cubicBezTo>
                    <a:pt x="0" y="18512"/>
                    <a:pt x="1052" y="19449"/>
                    <a:pt x="3161" y="20166"/>
                  </a:cubicBezTo>
                  <a:cubicBezTo>
                    <a:pt x="7378" y="21599"/>
                    <a:pt x="14221" y="21599"/>
                    <a:pt x="18438" y="20166"/>
                  </a:cubicBezTo>
                  <a:cubicBezTo>
                    <a:pt x="20547" y="19449"/>
                    <a:pt x="21599" y="18512"/>
                    <a:pt x="21599" y="17573"/>
                  </a:cubicBezTo>
                  <a:lnTo>
                    <a:pt x="215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C38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4" name="AutoShape 9"/>
            <p:cNvSpPr>
              <a:spLocks/>
            </p:cNvSpPr>
            <p:nvPr/>
          </p:nvSpPr>
          <p:spPr bwMode="auto">
            <a:xfrm>
              <a:off x="-1" y="0"/>
              <a:ext cx="3225535" cy="319291"/>
            </a:xfrm>
            <a:custGeom>
              <a:avLst/>
              <a:gdLst>
                <a:gd name="T0" fmla="*/ 1612686 w 19679"/>
                <a:gd name="T1" fmla="*/ 175230 h 19679"/>
                <a:gd name="T2" fmla="*/ 1612686 w 19679"/>
                <a:gd name="T3" fmla="*/ 175230 h 19679"/>
                <a:gd name="T4" fmla="*/ 1612686 w 19679"/>
                <a:gd name="T5" fmla="*/ 175230 h 19679"/>
                <a:gd name="T6" fmla="*/ 1612686 w 19679"/>
                <a:gd name="T7" fmla="*/ 175230 h 1967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  <a:close/>
                </a:path>
              </a:pathLst>
            </a:custGeom>
            <a:solidFill>
              <a:srgbClr val="C6B07C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95" name="Rectangle 94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9909331" y="3512726"/>
            <a:ext cx="1077534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sz="14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Globally</a:t>
            </a:r>
            <a:endParaRPr lang="ar-AE" sz="14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AutoShape 12"/>
          <p:cNvSpPr>
            <a:spLocks/>
          </p:cNvSpPr>
          <p:nvPr/>
        </p:nvSpPr>
        <p:spPr bwMode="auto">
          <a:xfrm flipH="1">
            <a:off x="10203999" y="2624156"/>
            <a:ext cx="612983" cy="630578"/>
          </a:xfrm>
          <a:custGeom>
            <a:avLst/>
            <a:gdLst>
              <a:gd name="T0" fmla="*/ 1189038 w 21600"/>
              <a:gd name="T1" fmla="*/ 1223169 h 21600"/>
              <a:gd name="T2" fmla="*/ 1189038 w 21600"/>
              <a:gd name="T3" fmla="*/ 1223169 h 21600"/>
              <a:gd name="T4" fmla="*/ 1189038 w 21600"/>
              <a:gd name="T5" fmla="*/ 1223169 h 21600"/>
              <a:gd name="T6" fmla="*/ 1189038 w 21600"/>
              <a:gd name="T7" fmla="*/ 1223169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9302" y="5583"/>
                </a:moveTo>
                <a:cubicBezTo>
                  <a:pt x="18887" y="6051"/>
                  <a:pt x="17598" y="6715"/>
                  <a:pt x="16236" y="7281"/>
                </a:cubicBezTo>
                <a:cubicBezTo>
                  <a:pt x="16017" y="6410"/>
                  <a:pt x="15706" y="5492"/>
                  <a:pt x="15309" y="4605"/>
                </a:cubicBezTo>
                <a:lnTo>
                  <a:pt x="15309" y="3402"/>
                </a:lnTo>
                <a:lnTo>
                  <a:pt x="17468" y="3402"/>
                </a:lnTo>
                <a:lnTo>
                  <a:pt x="17468" y="2352"/>
                </a:lnTo>
                <a:lnTo>
                  <a:pt x="20254" y="2352"/>
                </a:lnTo>
                <a:cubicBezTo>
                  <a:pt x="20254" y="2412"/>
                  <a:pt x="20254" y="2479"/>
                  <a:pt x="20254" y="2551"/>
                </a:cubicBezTo>
                <a:cubicBezTo>
                  <a:pt x="20264" y="3418"/>
                  <a:pt x="20066" y="4788"/>
                  <a:pt x="19302" y="5583"/>
                </a:cubicBezTo>
                <a:close/>
                <a:moveTo>
                  <a:pt x="8608" y="13621"/>
                </a:moveTo>
                <a:cubicBezTo>
                  <a:pt x="8562" y="13708"/>
                  <a:pt x="8427" y="13787"/>
                  <a:pt x="8322" y="13787"/>
                </a:cubicBezTo>
                <a:cubicBezTo>
                  <a:pt x="8312" y="13787"/>
                  <a:pt x="8307" y="13787"/>
                  <a:pt x="8302" y="13787"/>
                </a:cubicBezTo>
                <a:cubicBezTo>
                  <a:pt x="8025" y="13747"/>
                  <a:pt x="8053" y="13677"/>
                  <a:pt x="7959" y="13617"/>
                </a:cubicBezTo>
                <a:cubicBezTo>
                  <a:pt x="6784" y="12501"/>
                  <a:pt x="6112" y="11328"/>
                  <a:pt x="6122" y="9574"/>
                </a:cubicBezTo>
                <a:cubicBezTo>
                  <a:pt x="6122" y="8380"/>
                  <a:pt x="6456" y="6808"/>
                  <a:pt x="7021" y="5233"/>
                </a:cubicBezTo>
                <a:cubicBezTo>
                  <a:pt x="7116" y="4980"/>
                  <a:pt x="7164" y="4848"/>
                  <a:pt x="7230" y="4738"/>
                </a:cubicBezTo>
                <a:cubicBezTo>
                  <a:pt x="7278" y="4711"/>
                  <a:pt x="7220" y="4605"/>
                  <a:pt x="7548" y="4545"/>
                </a:cubicBezTo>
                <a:cubicBezTo>
                  <a:pt x="7890" y="4601"/>
                  <a:pt x="7870" y="4824"/>
                  <a:pt x="7885" y="4835"/>
                </a:cubicBezTo>
                <a:cubicBezTo>
                  <a:pt x="7895" y="4884"/>
                  <a:pt x="7895" y="4911"/>
                  <a:pt x="7895" y="4943"/>
                </a:cubicBezTo>
                <a:cubicBezTo>
                  <a:pt x="7890" y="5343"/>
                  <a:pt x="7646" y="6738"/>
                  <a:pt x="7646" y="8370"/>
                </a:cubicBezTo>
                <a:cubicBezTo>
                  <a:pt x="7646" y="8719"/>
                  <a:pt x="7657" y="9075"/>
                  <a:pt x="7688" y="9423"/>
                </a:cubicBezTo>
                <a:lnTo>
                  <a:pt x="7350" y="9453"/>
                </a:lnTo>
                <a:lnTo>
                  <a:pt x="7688" y="9423"/>
                </a:lnTo>
                <a:cubicBezTo>
                  <a:pt x="7760" y="10404"/>
                  <a:pt x="7994" y="11307"/>
                  <a:pt x="8218" y="12006"/>
                </a:cubicBezTo>
                <a:cubicBezTo>
                  <a:pt x="8437" y="12734"/>
                  <a:pt x="8633" y="13113"/>
                  <a:pt x="8659" y="13431"/>
                </a:cubicBezTo>
                <a:cubicBezTo>
                  <a:pt x="8659" y="13474"/>
                  <a:pt x="8654" y="13535"/>
                  <a:pt x="8608" y="13621"/>
                </a:cubicBezTo>
                <a:close/>
                <a:moveTo>
                  <a:pt x="2297" y="5575"/>
                </a:moveTo>
                <a:cubicBezTo>
                  <a:pt x="1527" y="4788"/>
                  <a:pt x="1334" y="3425"/>
                  <a:pt x="1340" y="2555"/>
                </a:cubicBezTo>
                <a:cubicBezTo>
                  <a:pt x="1340" y="2485"/>
                  <a:pt x="1340" y="2412"/>
                  <a:pt x="1345" y="2352"/>
                </a:cubicBezTo>
                <a:lnTo>
                  <a:pt x="4133" y="2352"/>
                </a:lnTo>
                <a:lnTo>
                  <a:pt x="4133" y="3402"/>
                </a:lnTo>
                <a:lnTo>
                  <a:pt x="6290" y="3402"/>
                </a:lnTo>
                <a:lnTo>
                  <a:pt x="6290" y="4615"/>
                </a:lnTo>
                <a:cubicBezTo>
                  <a:pt x="5893" y="5495"/>
                  <a:pt x="5582" y="6410"/>
                  <a:pt x="5363" y="7281"/>
                </a:cubicBezTo>
                <a:cubicBezTo>
                  <a:pt x="4001" y="6715"/>
                  <a:pt x="2712" y="6051"/>
                  <a:pt x="2297" y="5575"/>
                </a:cubicBezTo>
                <a:close/>
                <a:moveTo>
                  <a:pt x="21600" y="2551"/>
                </a:moveTo>
                <a:cubicBezTo>
                  <a:pt x="21600" y="1999"/>
                  <a:pt x="21543" y="1631"/>
                  <a:pt x="21543" y="1610"/>
                </a:cubicBezTo>
                <a:cubicBezTo>
                  <a:pt x="21497" y="1285"/>
                  <a:pt x="21215" y="1049"/>
                  <a:pt x="20878" y="1049"/>
                </a:cubicBezTo>
                <a:lnTo>
                  <a:pt x="17468" y="1049"/>
                </a:lnTo>
                <a:lnTo>
                  <a:pt x="17468" y="0"/>
                </a:lnTo>
                <a:lnTo>
                  <a:pt x="4133" y="0"/>
                </a:lnTo>
                <a:lnTo>
                  <a:pt x="4133" y="1049"/>
                </a:lnTo>
                <a:lnTo>
                  <a:pt x="721" y="1049"/>
                </a:lnTo>
                <a:cubicBezTo>
                  <a:pt x="384" y="1049"/>
                  <a:pt x="102" y="1285"/>
                  <a:pt x="56" y="1605"/>
                </a:cubicBezTo>
                <a:cubicBezTo>
                  <a:pt x="51" y="1631"/>
                  <a:pt x="0" y="1999"/>
                  <a:pt x="0" y="2555"/>
                </a:cubicBezTo>
                <a:cubicBezTo>
                  <a:pt x="10" y="3561"/>
                  <a:pt x="150" y="5216"/>
                  <a:pt x="1304" y="6463"/>
                </a:cubicBezTo>
                <a:cubicBezTo>
                  <a:pt x="2104" y="7281"/>
                  <a:pt x="3591" y="7978"/>
                  <a:pt x="5098" y="8583"/>
                </a:cubicBezTo>
                <a:cubicBezTo>
                  <a:pt x="5042" y="8982"/>
                  <a:pt x="5005" y="9357"/>
                  <a:pt x="5005" y="9689"/>
                </a:cubicBezTo>
                <a:cubicBezTo>
                  <a:pt x="5005" y="12418"/>
                  <a:pt x="7001" y="14688"/>
                  <a:pt x="9652" y="15203"/>
                </a:cubicBezTo>
                <a:lnTo>
                  <a:pt x="9652" y="16589"/>
                </a:lnTo>
                <a:lnTo>
                  <a:pt x="4989" y="20909"/>
                </a:lnTo>
                <a:cubicBezTo>
                  <a:pt x="4989" y="20909"/>
                  <a:pt x="6306" y="21599"/>
                  <a:pt x="10910" y="21599"/>
                </a:cubicBezTo>
                <a:cubicBezTo>
                  <a:pt x="15517" y="21599"/>
                  <a:pt x="16610" y="20909"/>
                  <a:pt x="16610" y="20909"/>
                </a:cubicBezTo>
                <a:lnTo>
                  <a:pt x="11946" y="16589"/>
                </a:lnTo>
                <a:lnTo>
                  <a:pt x="11946" y="15209"/>
                </a:lnTo>
                <a:cubicBezTo>
                  <a:pt x="14598" y="14688"/>
                  <a:pt x="16594" y="12418"/>
                  <a:pt x="16594" y="9689"/>
                </a:cubicBezTo>
                <a:cubicBezTo>
                  <a:pt x="16594" y="9357"/>
                  <a:pt x="16557" y="8979"/>
                  <a:pt x="16501" y="8583"/>
                </a:cubicBezTo>
                <a:cubicBezTo>
                  <a:pt x="18008" y="7978"/>
                  <a:pt x="19495" y="7281"/>
                  <a:pt x="20295" y="6463"/>
                </a:cubicBezTo>
                <a:cubicBezTo>
                  <a:pt x="21444" y="5213"/>
                  <a:pt x="21589" y="3561"/>
                  <a:pt x="21600" y="2551"/>
                </a:cubicBezTo>
                <a:close/>
              </a:path>
            </a:pathLst>
          </a:custGeom>
          <a:solidFill>
            <a:srgbClr val="DAC386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7" name="Group 7"/>
          <p:cNvGrpSpPr>
            <a:grpSpLocks/>
          </p:cNvGrpSpPr>
          <p:nvPr/>
        </p:nvGrpSpPr>
        <p:grpSpPr bwMode="auto">
          <a:xfrm flipH="1">
            <a:off x="8285071" y="3361538"/>
            <a:ext cx="1292678" cy="115889"/>
            <a:chOff x="-1" y="0"/>
            <a:chExt cx="3225535" cy="1097663"/>
          </a:xfrm>
        </p:grpSpPr>
        <p:sp>
          <p:nvSpPr>
            <p:cNvPr id="98" name="AutoShape 8"/>
            <p:cNvSpPr>
              <a:spLocks/>
            </p:cNvSpPr>
            <p:nvPr/>
          </p:nvSpPr>
          <p:spPr bwMode="auto">
            <a:xfrm>
              <a:off x="-1" y="173148"/>
              <a:ext cx="3225535" cy="924515"/>
            </a:xfrm>
            <a:custGeom>
              <a:avLst/>
              <a:gdLst>
                <a:gd name="T0" fmla="*/ 1612768 w 21600"/>
                <a:gd name="T1" fmla="*/ 462258 h 21242"/>
                <a:gd name="T2" fmla="*/ 1612768 w 21600"/>
                <a:gd name="T3" fmla="*/ 462258 h 21242"/>
                <a:gd name="T4" fmla="*/ 1612768 w 21600"/>
                <a:gd name="T5" fmla="*/ 462258 h 21242"/>
                <a:gd name="T6" fmla="*/ 1612768 w 21600"/>
                <a:gd name="T7" fmla="*/ 462258 h 2124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242">
                  <a:moveTo>
                    <a:pt x="0" y="0"/>
                  </a:moveTo>
                  <a:lnTo>
                    <a:pt x="0" y="17573"/>
                  </a:lnTo>
                  <a:cubicBezTo>
                    <a:pt x="0" y="18512"/>
                    <a:pt x="1052" y="19449"/>
                    <a:pt x="3161" y="20166"/>
                  </a:cubicBezTo>
                  <a:cubicBezTo>
                    <a:pt x="7378" y="21599"/>
                    <a:pt x="14221" y="21599"/>
                    <a:pt x="18438" y="20166"/>
                  </a:cubicBezTo>
                  <a:cubicBezTo>
                    <a:pt x="20547" y="19449"/>
                    <a:pt x="21599" y="18512"/>
                    <a:pt x="21599" y="17573"/>
                  </a:cubicBezTo>
                  <a:lnTo>
                    <a:pt x="215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AC38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" name="AutoShape 9"/>
            <p:cNvSpPr>
              <a:spLocks/>
            </p:cNvSpPr>
            <p:nvPr/>
          </p:nvSpPr>
          <p:spPr bwMode="auto">
            <a:xfrm>
              <a:off x="-1" y="0"/>
              <a:ext cx="3225535" cy="319291"/>
            </a:xfrm>
            <a:custGeom>
              <a:avLst/>
              <a:gdLst>
                <a:gd name="T0" fmla="*/ 1612686 w 19679"/>
                <a:gd name="T1" fmla="*/ 175230 h 19679"/>
                <a:gd name="T2" fmla="*/ 1612686 w 19679"/>
                <a:gd name="T3" fmla="*/ 175230 h 19679"/>
                <a:gd name="T4" fmla="*/ 1612686 w 19679"/>
                <a:gd name="T5" fmla="*/ 175230 h 19679"/>
                <a:gd name="T6" fmla="*/ 1612686 w 19679"/>
                <a:gd name="T7" fmla="*/ 175230 h 1967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  <a:close/>
                </a:path>
              </a:pathLst>
            </a:custGeom>
            <a:solidFill>
              <a:srgbClr val="C6B07C">
                <a:lumMod val="7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50800" tIns="50800" rIns="50800" bIns="50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9960428" y="3761994"/>
            <a:ext cx="97534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19</a:t>
            </a:r>
            <a:endParaRPr lang="ar-AE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101" name="AutoShape 12"/>
          <p:cNvSpPr>
            <a:spLocks/>
          </p:cNvSpPr>
          <p:nvPr/>
        </p:nvSpPr>
        <p:spPr bwMode="auto">
          <a:xfrm flipH="1">
            <a:off x="8684633" y="2706997"/>
            <a:ext cx="612983" cy="630578"/>
          </a:xfrm>
          <a:custGeom>
            <a:avLst/>
            <a:gdLst>
              <a:gd name="T0" fmla="*/ 1189038 w 21600"/>
              <a:gd name="T1" fmla="*/ 1223169 h 21600"/>
              <a:gd name="T2" fmla="*/ 1189038 w 21600"/>
              <a:gd name="T3" fmla="*/ 1223169 h 21600"/>
              <a:gd name="T4" fmla="*/ 1189038 w 21600"/>
              <a:gd name="T5" fmla="*/ 1223169 h 21600"/>
              <a:gd name="T6" fmla="*/ 1189038 w 21600"/>
              <a:gd name="T7" fmla="*/ 1223169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9302" y="5583"/>
                </a:moveTo>
                <a:cubicBezTo>
                  <a:pt x="18887" y="6051"/>
                  <a:pt x="17598" y="6715"/>
                  <a:pt x="16236" y="7281"/>
                </a:cubicBezTo>
                <a:cubicBezTo>
                  <a:pt x="16017" y="6410"/>
                  <a:pt x="15706" y="5492"/>
                  <a:pt x="15309" y="4605"/>
                </a:cubicBezTo>
                <a:lnTo>
                  <a:pt x="15309" y="3402"/>
                </a:lnTo>
                <a:lnTo>
                  <a:pt x="17468" y="3402"/>
                </a:lnTo>
                <a:lnTo>
                  <a:pt x="17468" y="2352"/>
                </a:lnTo>
                <a:lnTo>
                  <a:pt x="20254" y="2352"/>
                </a:lnTo>
                <a:cubicBezTo>
                  <a:pt x="20254" y="2412"/>
                  <a:pt x="20254" y="2479"/>
                  <a:pt x="20254" y="2551"/>
                </a:cubicBezTo>
                <a:cubicBezTo>
                  <a:pt x="20264" y="3418"/>
                  <a:pt x="20066" y="4788"/>
                  <a:pt x="19302" y="5583"/>
                </a:cubicBezTo>
                <a:close/>
                <a:moveTo>
                  <a:pt x="8608" y="13621"/>
                </a:moveTo>
                <a:cubicBezTo>
                  <a:pt x="8562" y="13708"/>
                  <a:pt x="8427" y="13787"/>
                  <a:pt x="8322" y="13787"/>
                </a:cubicBezTo>
                <a:cubicBezTo>
                  <a:pt x="8312" y="13787"/>
                  <a:pt x="8307" y="13787"/>
                  <a:pt x="8302" y="13787"/>
                </a:cubicBezTo>
                <a:cubicBezTo>
                  <a:pt x="8025" y="13747"/>
                  <a:pt x="8053" y="13677"/>
                  <a:pt x="7959" y="13617"/>
                </a:cubicBezTo>
                <a:cubicBezTo>
                  <a:pt x="6784" y="12501"/>
                  <a:pt x="6112" y="11328"/>
                  <a:pt x="6122" y="9574"/>
                </a:cubicBezTo>
                <a:cubicBezTo>
                  <a:pt x="6122" y="8380"/>
                  <a:pt x="6456" y="6808"/>
                  <a:pt x="7021" y="5233"/>
                </a:cubicBezTo>
                <a:cubicBezTo>
                  <a:pt x="7116" y="4980"/>
                  <a:pt x="7164" y="4848"/>
                  <a:pt x="7230" y="4738"/>
                </a:cubicBezTo>
                <a:cubicBezTo>
                  <a:pt x="7278" y="4711"/>
                  <a:pt x="7220" y="4605"/>
                  <a:pt x="7548" y="4545"/>
                </a:cubicBezTo>
                <a:cubicBezTo>
                  <a:pt x="7890" y="4601"/>
                  <a:pt x="7870" y="4824"/>
                  <a:pt x="7885" y="4835"/>
                </a:cubicBezTo>
                <a:cubicBezTo>
                  <a:pt x="7895" y="4884"/>
                  <a:pt x="7895" y="4911"/>
                  <a:pt x="7895" y="4943"/>
                </a:cubicBezTo>
                <a:cubicBezTo>
                  <a:pt x="7890" y="5343"/>
                  <a:pt x="7646" y="6738"/>
                  <a:pt x="7646" y="8370"/>
                </a:cubicBezTo>
                <a:cubicBezTo>
                  <a:pt x="7646" y="8719"/>
                  <a:pt x="7657" y="9075"/>
                  <a:pt x="7688" y="9423"/>
                </a:cubicBezTo>
                <a:lnTo>
                  <a:pt x="7350" y="9453"/>
                </a:lnTo>
                <a:lnTo>
                  <a:pt x="7688" y="9423"/>
                </a:lnTo>
                <a:cubicBezTo>
                  <a:pt x="7760" y="10404"/>
                  <a:pt x="7994" y="11307"/>
                  <a:pt x="8218" y="12006"/>
                </a:cubicBezTo>
                <a:cubicBezTo>
                  <a:pt x="8437" y="12734"/>
                  <a:pt x="8633" y="13113"/>
                  <a:pt x="8659" y="13431"/>
                </a:cubicBezTo>
                <a:cubicBezTo>
                  <a:pt x="8659" y="13474"/>
                  <a:pt x="8654" y="13535"/>
                  <a:pt x="8608" y="13621"/>
                </a:cubicBezTo>
                <a:close/>
                <a:moveTo>
                  <a:pt x="2297" y="5575"/>
                </a:moveTo>
                <a:cubicBezTo>
                  <a:pt x="1527" y="4788"/>
                  <a:pt x="1334" y="3425"/>
                  <a:pt x="1340" y="2555"/>
                </a:cubicBezTo>
                <a:cubicBezTo>
                  <a:pt x="1340" y="2485"/>
                  <a:pt x="1340" y="2412"/>
                  <a:pt x="1345" y="2352"/>
                </a:cubicBezTo>
                <a:lnTo>
                  <a:pt x="4133" y="2352"/>
                </a:lnTo>
                <a:lnTo>
                  <a:pt x="4133" y="3402"/>
                </a:lnTo>
                <a:lnTo>
                  <a:pt x="6290" y="3402"/>
                </a:lnTo>
                <a:lnTo>
                  <a:pt x="6290" y="4615"/>
                </a:lnTo>
                <a:cubicBezTo>
                  <a:pt x="5893" y="5495"/>
                  <a:pt x="5582" y="6410"/>
                  <a:pt x="5363" y="7281"/>
                </a:cubicBezTo>
                <a:cubicBezTo>
                  <a:pt x="4001" y="6715"/>
                  <a:pt x="2712" y="6051"/>
                  <a:pt x="2297" y="5575"/>
                </a:cubicBezTo>
                <a:close/>
                <a:moveTo>
                  <a:pt x="21600" y="2551"/>
                </a:moveTo>
                <a:cubicBezTo>
                  <a:pt x="21600" y="1999"/>
                  <a:pt x="21543" y="1631"/>
                  <a:pt x="21543" y="1610"/>
                </a:cubicBezTo>
                <a:cubicBezTo>
                  <a:pt x="21497" y="1285"/>
                  <a:pt x="21215" y="1049"/>
                  <a:pt x="20878" y="1049"/>
                </a:cubicBezTo>
                <a:lnTo>
                  <a:pt x="17468" y="1049"/>
                </a:lnTo>
                <a:lnTo>
                  <a:pt x="17468" y="0"/>
                </a:lnTo>
                <a:lnTo>
                  <a:pt x="4133" y="0"/>
                </a:lnTo>
                <a:lnTo>
                  <a:pt x="4133" y="1049"/>
                </a:lnTo>
                <a:lnTo>
                  <a:pt x="721" y="1049"/>
                </a:lnTo>
                <a:cubicBezTo>
                  <a:pt x="384" y="1049"/>
                  <a:pt x="102" y="1285"/>
                  <a:pt x="56" y="1605"/>
                </a:cubicBezTo>
                <a:cubicBezTo>
                  <a:pt x="51" y="1631"/>
                  <a:pt x="0" y="1999"/>
                  <a:pt x="0" y="2555"/>
                </a:cubicBezTo>
                <a:cubicBezTo>
                  <a:pt x="10" y="3561"/>
                  <a:pt x="150" y="5216"/>
                  <a:pt x="1304" y="6463"/>
                </a:cubicBezTo>
                <a:cubicBezTo>
                  <a:pt x="2104" y="7281"/>
                  <a:pt x="3591" y="7978"/>
                  <a:pt x="5098" y="8583"/>
                </a:cubicBezTo>
                <a:cubicBezTo>
                  <a:pt x="5042" y="8982"/>
                  <a:pt x="5005" y="9357"/>
                  <a:pt x="5005" y="9689"/>
                </a:cubicBezTo>
                <a:cubicBezTo>
                  <a:pt x="5005" y="12418"/>
                  <a:pt x="7001" y="14688"/>
                  <a:pt x="9652" y="15203"/>
                </a:cubicBezTo>
                <a:lnTo>
                  <a:pt x="9652" y="16589"/>
                </a:lnTo>
                <a:lnTo>
                  <a:pt x="4989" y="20909"/>
                </a:lnTo>
                <a:cubicBezTo>
                  <a:pt x="4989" y="20909"/>
                  <a:pt x="6306" y="21599"/>
                  <a:pt x="10910" y="21599"/>
                </a:cubicBezTo>
                <a:cubicBezTo>
                  <a:pt x="15517" y="21599"/>
                  <a:pt x="16610" y="20909"/>
                  <a:pt x="16610" y="20909"/>
                </a:cubicBezTo>
                <a:lnTo>
                  <a:pt x="11946" y="16589"/>
                </a:lnTo>
                <a:lnTo>
                  <a:pt x="11946" y="15209"/>
                </a:lnTo>
                <a:cubicBezTo>
                  <a:pt x="14598" y="14688"/>
                  <a:pt x="16594" y="12418"/>
                  <a:pt x="16594" y="9689"/>
                </a:cubicBezTo>
                <a:cubicBezTo>
                  <a:pt x="16594" y="9357"/>
                  <a:pt x="16557" y="8979"/>
                  <a:pt x="16501" y="8583"/>
                </a:cubicBezTo>
                <a:cubicBezTo>
                  <a:pt x="18008" y="7978"/>
                  <a:pt x="19495" y="7281"/>
                  <a:pt x="20295" y="6463"/>
                </a:cubicBezTo>
                <a:cubicBezTo>
                  <a:pt x="21444" y="5213"/>
                  <a:pt x="21589" y="3561"/>
                  <a:pt x="21600" y="2551"/>
                </a:cubicBezTo>
                <a:close/>
              </a:path>
            </a:pathLst>
          </a:custGeom>
          <a:solidFill>
            <a:srgbClr val="DAC386"/>
          </a:solidFill>
          <a:ln>
            <a:noFill/>
          </a:ln>
          <a:effectLst/>
        </p:spPr>
        <p:txBody>
          <a:bodyPr lIns="50800" tIns="50800" rIns="50800" bIns="50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8391956" y="3512726"/>
            <a:ext cx="1077534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sz="14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Globally</a:t>
            </a:r>
            <a:endParaRPr lang="ar-AE" sz="14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F27A1D1-2309-41E2-A7D8-32165A1F6B72}"/>
              </a:ext>
            </a:extLst>
          </p:cNvPr>
          <p:cNvSpPr/>
          <p:nvPr/>
        </p:nvSpPr>
        <p:spPr>
          <a:xfrm flipH="1">
            <a:off x="8443053" y="3761994"/>
            <a:ext cx="975341" cy="38847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rtl="1">
              <a:lnSpc>
                <a:spcPct val="130000"/>
              </a:lnSpc>
            </a:pPr>
            <a:r>
              <a:rPr lang="en-US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2018</a:t>
            </a:r>
            <a:endParaRPr lang="ar-AE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04" name="Straight Connector 103"/>
          <p:cNvCxnSpPr/>
          <p:nvPr/>
        </p:nvCxnSpPr>
        <p:spPr>
          <a:xfrm flipV="1">
            <a:off x="9577749" y="3316032"/>
            <a:ext cx="276386" cy="62361"/>
          </a:xfrm>
          <a:prstGeom prst="line">
            <a:avLst/>
          </a:prstGeom>
          <a:noFill/>
          <a:ln w="28575" cap="flat" cmpd="sng" algn="ctr">
            <a:solidFill>
              <a:srgbClr val="DAC386"/>
            </a:solidFill>
            <a:prstDash val="solid"/>
            <a:miter lim="800000"/>
          </a:ln>
          <a:effectLst/>
        </p:spPr>
      </p:cxnSp>
      <p:sp>
        <p:nvSpPr>
          <p:cNvPr id="105" name="Rectangle 104"/>
          <p:cNvSpPr/>
          <p:nvPr/>
        </p:nvSpPr>
        <p:spPr>
          <a:xfrm>
            <a:off x="532972" y="1155760"/>
            <a:ext cx="62519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AD83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E Global Ranking in the FDI Inflows and Outflows, 2018-2019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9469490" y="6568668"/>
            <a:ext cx="367941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tx1">
                    <a:lumMod val="7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UNCTAD, World Investment Report </a:t>
            </a:r>
            <a:r>
              <a:rPr lang="ar-AE" sz="1050" b="1" dirty="0">
                <a:solidFill>
                  <a:schemeClr val="tx1">
                    <a:lumMod val="7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2020</a:t>
            </a:r>
            <a:r>
              <a:rPr lang="en-US" sz="1050" b="1" dirty="0">
                <a:solidFill>
                  <a:schemeClr val="tx1">
                    <a:lumMod val="75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161139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oVCsChFUuGVPN2rqAI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oVCsChFUuGVPN2rqAI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oVCsChFUuGVPN2rqAI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oVCsChFUuGVPN2rqAI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oVCsChFUuGVPN2rqAI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oVCsChFUuGVPN2rqAI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oVCsChFUuGVPN2rqAI3A"/>
</p:tagLst>
</file>

<file path=ppt/theme/theme1.xml><?xml version="1.0" encoding="utf-8"?>
<a:theme xmlns:a="http://schemas.openxmlformats.org/drawingml/2006/main" name="Office Theme">
  <a:themeElements>
    <a:clrScheme name="Network Geometrics">
      <a:dk1>
        <a:srgbClr val="3F3F3F"/>
      </a:dk1>
      <a:lt1>
        <a:srgbClr val="FFFFFF"/>
      </a:lt1>
      <a:dk2>
        <a:srgbClr val="313C41"/>
      </a:dk2>
      <a:lt2>
        <a:srgbClr val="FFFFFF"/>
      </a:lt2>
      <a:accent1>
        <a:srgbClr val="51C3CA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7030A0"/>
      </a:hlink>
      <a:folHlink>
        <a:srgbClr val="00B0F0"/>
      </a:folHlink>
    </a:clrScheme>
    <a:fontScheme name="Hilari">
      <a:majorFont>
        <a:latin typeface="Montserrat"/>
        <a:ea typeface=""/>
        <a:cs typeface=""/>
      </a:majorFont>
      <a:minorFont>
        <a:latin typeface="Mul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656D78"/>
    </a:dk1>
    <a:lt1>
      <a:srgbClr val="FFFFFF"/>
    </a:lt1>
    <a:dk2>
      <a:srgbClr val="44546A"/>
    </a:dk2>
    <a:lt2>
      <a:srgbClr val="E7E6E6"/>
    </a:lt2>
    <a:accent1>
      <a:srgbClr val="DAC386"/>
    </a:accent1>
    <a:accent2>
      <a:srgbClr val="3E3C43"/>
    </a:accent2>
    <a:accent3>
      <a:srgbClr val="686462"/>
    </a:accent3>
    <a:accent4>
      <a:srgbClr val="C6B07C"/>
    </a:accent4>
    <a:accent5>
      <a:srgbClr val="AA956F"/>
    </a:accent5>
    <a:accent6>
      <a:srgbClr val="897961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">
    <a:dk1>
      <a:srgbClr val="656D78"/>
    </a:dk1>
    <a:lt1>
      <a:srgbClr val="FFFFFF"/>
    </a:lt1>
    <a:dk2>
      <a:srgbClr val="44546A"/>
    </a:dk2>
    <a:lt2>
      <a:srgbClr val="E7E6E6"/>
    </a:lt2>
    <a:accent1>
      <a:srgbClr val="DAC386"/>
    </a:accent1>
    <a:accent2>
      <a:srgbClr val="3E3C43"/>
    </a:accent2>
    <a:accent3>
      <a:srgbClr val="686462"/>
    </a:accent3>
    <a:accent4>
      <a:srgbClr val="C6B07C"/>
    </a:accent4>
    <a:accent5>
      <a:srgbClr val="AA956F"/>
    </a:accent5>
    <a:accent6>
      <a:srgbClr val="897961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">
    <a:dk1>
      <a:srgbClr val="656D78"/>
    </a:dk1>
    <a:lt1>
      <a:srgbClr val="FFFFFF"/>
    </a:lt1>
    <a:dk2>
      <a:srgbClr val="44546A"/>
    </a:dk2>
    <a:lt2>
      <a:srgbClr val="E7E6E6"/>
    </a:lt2>
    <a:accent1>
      <a:srgbClr val="DAC386"/>
    </a:accent1>
    <a:accent2>
      <a:srgbClr val="3E3C43"/>
    </a:accent2>
    <a:accent3>
      <a:srgbClr val="686462"/>
    </a:accent3>
    <a:accent4>
      <a:srgbClr val="C6B07C"/>
    </a:accent4>
    <a:accent5>
      <a:srgbClr val="AA956F"/>
    </a:accent5>
    <a:accent6>
      <a:srgbClr val="897961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">
    <a:dk1>
      <a:srgbClr val="656D78"/>
    </a:dk1>
    <a:lt1>
      <a:srgbClr val="FFFFFF"/>
    </a:lt1>
    <a:dk2>
      <a:srgbClr val="44546A"/>
    </a:dk2>
    <a:lt2>
      <a:srgbClr val="E7E6E6"/>
    </a:lt2>
    <a:accent1>
      <a:srgbClr val="DAC386"/>
    </a:accent1>
    <a:accent2>
      <a:srgbClr val="3E3C43"/>
    </a:accent2>
    <a:accent3>
      <a:srgbClr val="686462"/>
    </a:accent3>
    <a:accent4>
      <a:srgbClr val="C6B07C"/>
    </a:accent4>
    <a:accent5>
      <a:srgbClr val="AA956F"/>
    </a:accent5>
    <a:accent6>
      <a:srgbClr val="897961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1">
    <a:dk1>
      <a:srgbClr val="656D78"/>
    </a:dk1>
    <a:lt1>
      <a:srgbClr val="FFFFFF"/>
    </a:lt1>
    <a:dk2>
      <a:srgbClr val="44546A"/>
    </a:dk2>
    <a:lt2>
      <a:srgbClr val="E7E6E6"/>
    </a:lt2>
    <a:accent1>
      <a:srgbClr val="DAC386"/>
    </a:accent1>
    <a:accent2>
      <a:srgbClr val="3E3C43"/>
    </a:accent2>
    <a:accent3>
      <a:srgbClr val="686462"/>
    </a:accent3>
    <a:accent4>
      <a:srgbClr val="C6B07C"/>
    </a:accent4>
    <a:accent5>
      <a:srgbClr val="AA956F"/>
    </a:accent5>
    <a:accent6>
      <a:srgbClr val="897961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Custom 1">
    <a:dk1>
      <a:srgbClr val="656D78"/>
    </a:dk1>
    <a:lt1>
      <a:srgbClr val="FFFFFF"/>
    </a:lt1>
    <a:dk2>
      <a:srgbClr val="44546A"/>
    </a:dk2>
    <a:lt2>
      <a:srgbClr val="E7E6E6"/>
    </a:lt2>
    <a:accent1>
      <a:srgbClr val="DAC386"/>
    </a:accent1>
    <a:accent2>
      <a:srgbClr val="3E3C43"/>
    </a:accent2>
    <a:accent3>
      <a:srgbClr val="686462"/>
    </a:accent3>
    <a:accent4>
      <a:srgbClr val="C6B07C"/>
    </a:accent4>
    <a:accent5>
      <a:srgbClr val="AA956F"/>
    </a:accent5>
    <a:accent6>
      <a:srgbClr val="897961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Custom 1">
    <a:dk1>
      <a:srgbClr val="656D78"/>
    </a:dk1>
    <a:lt1>
      <a:srgbClr val="FFFFFF"/>
    </a:lt1>
    <a:dk2>
      <a:srgbClr val="44546A"/>
    </a:dk2>
    <a:lt2>
      <a:srgbClr val="E7E6E6"/>
    </a:lt2>
    <a:accent1>
      <a:srgbClr val="DAC386"/>
    </a:accent1>
    <a:accent2>
      <a:srgbClr val="3E3C43"/>
    </a:accent2>
    <a:accent3>
      <a:srgbClr val="686462"/>
    </a:accent3>
    <a:accent4>
      <a:srgbClr val="C6B07C"/>
    </a:accent4>
    <a:accent5>
      <a:srgbClr val="AA956F"/>
    </a:accent5>
    <a:accent6>
      <a:srgbClr val="897961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082</TotalTime>
  <Words>1422</Words>
  <Application>Microsoft Office PowerPoint</Application>
  <PresentationFormat>Widescreen</PresentationFormat>
  <Paragraphs>298</Paragraphs>
  <Slides>25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ian Kurniawan</dc:creator>
  <cp:lastModifiedBy>Ahmed Alketbi</cp:lastModifiedBy>
  <cp:revision>1541</cp:revision>
  <dcterms:created xsi:type="dcterms:W3CDTF">2018-12-05T18:19:15Z</dcterms:created>
  <dcterms:modified xsi:type="dcterms:W3CDTF">2021-04-07T21:14:48Z</dcterms:modified>
</cp:coreProperties>
</file>